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5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66" r:id="rId1"/>
    <p:sldMasterId id="2147483769" r:id="rId2"/>
    <p:sldMasterId id="2147483771" r:id="rId3"/>
    <p:sldMasterId id="2147483775" r:id="rId4"/>
    <p:sldMasterId id="2147483778" r:id="rId5"/>
    <p:sldMasterId id="2147483780" r:id="rId6"/>
  </p:sldMasterIdLst>
  <p:notesMasterIdLst>
    <p:notesMasterId r:id="rId16"/>
  </p:notesMasterIdLst>
  <p:handoutMasterIdLst>
    <p:handoutMasterId r:id="rId17"/>
  </p:handoutMasterIdLst>
  <p:sldIdLst>
    <p:sldId id="264" r:id="rId7"/>
    <p:sldId id="307" r:id="rId8"/>
    <p:sldId id="330" r:id="rId9"/>
    <p:sldId id="327" r:id="rId10"/>
    <p:sldId id="328" r:id="rId11"/>
    <p:sldId id="326" r:id="rId12"/>
    <p:sldId id="324" r:id="rId13"/>
    <p:sldId id="329" r:id="rId14"/>
    <p:sldId id="267" r:id="rId15"/>
  </p:sldIdLst>
  <p:sldSz cx="9144000" cy="5148263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61" userDrawn="1">
          <p15:clr>
            <a:srgbClr val="A4A3A4"/>
          </p15:clr>
        </p15:guide>
        <p15:guide id="2" pos="340" userDrawn="1">
          <p15:clr>
            <a:srgbClr val="A4A3A4"/>
          </p15:clr>
        </p15:guide>
        <p15:guide id="3" orient="horz" pos="3028" userDrawn="1">
          <p15:clr>
            <a:srgbClr val="A4A3A4"/>
          </p15:clr>
        </p15:guide>
        <p15:guide id="4" pos="551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Гордеев Андрей Сергеевич" initials="ГАС" lastIdx="28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14"/>
    <p:restoredTop sz="93786" autoAdjust="0"/>
  </p:normalViewPr>
  <p:slideViewPr>
    <p:cSldViewPr>
      <p:cViewPr varScale="1">
        <p:scale>
          <a:sx n="144" d="100"/>
          <a:sy n="144" d="100"/>
        </p:scale>
        <p:origin x="702" y="120"/>
      </p:cViewPr>
      <p:guideLst>
        <p:guide orient="horz" pos="261"/>
        <p:guide pos="340"/>
        <p:guide orient="horz" pos="3028"/>
        <p:guide pos="5511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howGuides="1">
      <p:cViewPr varScale="1">
        <p:scale>
          <a:sx n="172" d="100"/>
          <a:sy n="172" d="100"/>
        </p:scale>
        <p:origin x="6552" y="20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886DCCD-FB14-4FA8-B1C2-D065E82645DF}" type="datetimeFigureOut">
              <a:rPr lang="ru-RU" smtClean="0"/>
              <a:t>27.10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8D96E1-DF61-4A53-9932-3DFD8899BB9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05484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B084D8A-822D-488E-8D1C-8C90CBE022BE}" type="datetimeFigureOut">
              <a:rPr lang="ru-RU" smtClean="0"/>
              <a:t>27.10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384175" y="685800"/>
            <a:ext cx="608965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F70B7F-3432-4DBE-B821-B38A127FB2D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920220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F70B7F-3432-4DBE-B821-B38A127FB2DF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03718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F70B7F-3432-4DBE-B821-B38A127FB2DF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313653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F70B7F-3432-4DBE-B821-B38A127FB2DF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2101904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F70B7F-3432-4DBE-B821-B38A127FB2DF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27946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F70B7F-3432-4DBE-B821-B38A127FB2DF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01331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2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 txBox="1">
            <a:spLocks/>
          </p:cNvSpPr>
          <p:nvPr/>
        </p:nvSpPr>
        <p:spPr>
          <a:xfrm>
            <a:off x="468340" y="4172175"/>
            <a:ext cx="2786567" cy="566581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400" b="1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Фамилия Имя Отчество</a:t>
            </a:r>
          </a:p>
          <a:p>
            <a:pPr lvl="0">
              <a:spcBef>
                <a:spcPct val="0"/>
              </a:spcBef>
            </a:pPr>
            <a:r>
              <a:rPr lang="ru-RU" sz="1400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  <a:endParaRPr lang="ru-RU" sz="1400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430126" y="2011864"/>
            <a:ext cx="4429906" cy="997099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>
              <a:lnSpc>
                <a:spcPts val="3780"/>
              </a:lnSpc>
            </a:pPr>
            <a:r>
              <a:rPr lang="ru-RU" sz="27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Тема </a:t>
            </a:r>
          </a:p>
          <a:p>
            <a:pPr>
              <a:lnSpc>
                <a:spcPts val="3780"/>
              </a:lnSpc>
            </a:pPr>
            <a:r>
              <a:rPr lang="ru-RU" sz="27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презентации</a:t>
            </a:r>
            <a:endParaRPr lang="ru-RU" sz="2700" b="1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467544" y="3656856"/>
            <a:ext cx="4886550" cy="566581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Наименование мероприятия</a:t>
            </a:r>
            <a:r>
              <a:rPr lang="en-US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/</a:t>
            </a:r>
            <a:r>
              <a:rPr lang="en-US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название площадки</a:t>
            </a:r>
            <a:endParaRPr lang="ru-RU" sz="1400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352305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3"/>
          <a:ext cx="1587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9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3"/>
                        <a:ext cx="1587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201262"/>
            <a:ext cx="8229600" cy="339761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4688256"/>
            <a:ext cx="2133600" cy="35751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B858E8B2-FF20-41D0-B1FD-781215B07CA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97875353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екст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539752" y="4568371"/>
            <a:ext cx="4014788" cy="148092"/>
          </a:xfrm>
          <a:prstGeom prst="rect">
            <a:avLst/>
          </a:prstGeom>
        </p:spPr>
        <p:txBody>
          <a:bodyPr lIns="0" tIns="0" rIns="0" bIns="0" anchor="b"/>
          <a:lstStyle>
            <a:lvl1pPr marL="0" marR="0" indent="0" algn="l" defTabSz="911865" rtl="0" eaLnBrk="1" fontAlgn="auto" latinLnBrk="0" hangingPunct="1">
              <a:lnSpc>
                <a:spcPct val="90000"/>
              </a:lnSpc>
              <a:spcBef>
                <a:spcPts val="997"/>
              </a:spcBef>
              <a:spcAft>
                <a:spcPts val="0"/>
              </a:spcAft>
              <a:buClrTx/>
              <a:buSzTx/>
              <a:buFontTx/>
              <a:buNone/>
              <a:tabLst/>
              <a:defRPr sz="698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0" marR="0" lvl="0" indent="0" algn="l" defTabSz="911865" rtl="0" eaLnBrk="1" fontAlgn="auto" latinLnBrk="0" hangingPunct="1">
              <a:lnSpc>
                <a:spcPct val="90000"/>
              </a:lnSpc>
              <a:spcBef>
                <a:spcPts val="99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dirty="0"/>
              <a:t>Место для указания источников и сносок</a:t>
            </a:r>
            <a:endParaRPr lang="en-US" dirty="0"/>
          </a:p>
        </p:txBody>
      </p:sp>
      <p:sp>
        <p:nvSpPr>
          <p:cNvPr id="13" name="Slide Number Placeholder 5"/>
          <p:cNvSpPr txBox="1">
            <a:spLocks/>
          </p:cNvSpPr>
          <p:nvPr userDrawn="1"/>
        </p:nvSpPr>
        <p:spPr>
          <a:xfrm>
            <a:off x="8186738" y="4579417"/>
            <a:ext cx="561975" cy="137049"/>
          </a:xfrm>
          <a:prstGeom prst="rect">
            <a:avLst/>
          </a:prstGeom>
        </p:spPr>
        <p:txBody>
          <a:bodyPr lIns="0" tIns="0" rIns="0" bIns="0" anchor="b"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6DF24603-9A1B-F342-92E0-89DE32840F75}" type="slidenum">
              <a:rPr lang="en-US" sz="698" smtClean="0"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en-US" sz="698" dirty="0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539750" y="431800"/>
            <a:ext cx="6561138" cy="330200"/>
          </a:xfrm>
          <a:prstGeom prst="rect">
            <a:avLst/>
          </a:prstGeom>
        </p:spPr>
        <p:txBody>
          <a:bodyPr lIns="0" tIns="0" rIns="0" bIns="0"/>
          <a:lstStyle>
            <a:lvl1pPr>
              <a:defRPr sz="2294" b="1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ru-RU" dirty="0"/>
              <a:t>Заголовок</a:t>
            </a:r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39752" y="1476376"/>
            <a:ext cx="4014788" cy="2465908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itchFamily="34" charset="0"/>
              <a:buNone/>
              <a:defRPr sz="1197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>
              <a:spcBef>
                <a:spcPct val="0"/>
              </a:spcBef>
            </a:pPr>
            <a:r>
              <a:rPr lang="ru-RU" sz="1197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екст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sz="quarter" idx="15"/>
          </p:nvPr>
        </p:nvSpPr>
        <p:spPr>
          <a:xfrm>
            <a:off x="4808541" y="1476375"/>
            <a:ext cx="3940175" cy="245699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698"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27452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 userDrawn="1"/>
        </p:nvSpPr>
        <p:spPr>
          <a:xfrm>
            <a:off x="430920" y="1789976"/>
            <a:ext cx="4429906" cy="997099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>
              <a:lnSpc>
                <a:spcPts val="3780"/>
              </a:lnSpc>
            </a:pPr>
            <a:r>
              <a:rPr lang="ru-RU" sz="41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1.1.</a:t>
            </a:r>
          </a:p>
          <a:p>
            <a:pPr>
              <a:lnSpc>
                <a:spcPts val="3780"/>
              </a:lnSpc>
            </a:pPr>
            <a:endParaRPr lang="ru-RU" sz="4100" b="1" dirty="0" smtClean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  <a:p>
            <a:pPr>
              <a:lnSpc>
                <a:spcPts val="3780"/>
              </a:lnSpc>
            </a:pPr>
            <a:r>
              <a:rPr lang="ru-RU" sz="4100" b="1" dirty="0" err="1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Перебивочный</a:t>
            </a:r>
            <a:r>
              <a:rPr lang="ru-RU" sz="41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 </a:t>
            </a:r>
          </a:p>
          <a:p>
            <a:pPr>
              <a:lnSpc>
                <a:spcPts val="3780"/>
              </a:lnSpc>
            </a:pPr>
            <a:r>
              <a:rPr lang="ru-RU" sz="41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слайд</a:t>
            </a:r>
            <a:endParaRPr lang="ru-RU" sz="4100" b="1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109031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 userDrawn="1"/>
        </p:nvSpPr>
        <p:spPr>
          <a:xfrm>
            <a:off x="425690" y="1483832"/>
            <a:ext cx="3931080" cy="2421666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аким образом, начало повседневной работы </a:t>
            </a:r>
          </a:p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по формированию позиции создает предпосылки качественно новых шагов для новых предложений. Соображения высшего порядка, а также дальнейшее развитие различных форм деятельности требует от нас системного анализа направлений. </a:t>
            </a:r>
          </a:p>
          <a:p>
            <a:pPr lvl="0">
              <a:spcBef>
                <a:spcPct val="0"/>
              </a:spcBef>
            </a:pPr>
            <a:endParaRPr lang="ru-RU" sz="1200" dirty="0" smtClean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аким образом, начало повседневной работы </a:t>
            </a:r>
          </a:p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по формированию позиции создает предпосылки качественно новых шагов для новых предложений. Соображения высшего порядка, а также дальнейшее развитие различных форм деятельности</a:t>
            </a:r>
          </a:p>
        </p:txBody>
      </p:sp>
      <p:pic>
        <p:nvPicPr>
          <p:cNvPr id="8" name="Picture 3" descr="C:\Users\Garvis\Desktop\атом_0812\Презы\Файлы для презентации_цфо-1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21116" y="1383145"/>
            <a:ext cx="4034808" cy="2558367"/>
          </a:xfrm>
          <a:prstGeom prst="rect">
            <a:avLst/>
          </a:prstGeom>
          <a:noFill/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387903" y="38739"/>
            <a:ext cx="4803513" cy="997099"/>
          </a:xfrm>
          <a:prstGeom prst="rect">
            <a:avLst/>
          </a:prstGeom>
        </p:spPr>
        <p:txBody>
          <a:bodyPr vert="horz" lIns="144000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3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Заголовок</a:t>
            </a:r>
            <a:endParaRPr lang="ru-RU" sz="2300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Прямоугольник 2"/>
          <p:cNvSpPr/>
          <p:nvPr userDrawn="1"/>
        </p:nvSpPr>
        <p:spPr>
          <a:xfrm>
            <a:off x="504000" y="4684334"/>
            <a:ext cx="4572794" cy="142757"/>
          </a:xfrm>
          <a:prstGeom prst="rect">
            <a:avLst/>
          </a:prstGeom>
        </p:spPr>
        <p:txBody>
          <a:bodyPr lIns="34567" tIns="17283" rIns="34567" bIns="17283">
            <a:spAutoFit/>
          </a:bodyPr>
          <a:lstStyle/>
          <a:p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Место для указания источников и сносок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32000" y="4648301"/>
            <a:ext cx="2133600" cy="27435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3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119127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098"/>
            <a:ext cx="7886700" cy="99509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70486"/>
            <a:ext cx="7886700" cy="326652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71678"/>
            <a:ext cx="2057400" cy="274097"/>
          </a:xfrm>
          <a:prstGeom prst="rect">
            <a:avLst/>
          </a:prstGeom>
        </p:spPr>
        <p:txBody>
          <a:bodyPr/>
          <a:lstStyle/>
          <a:p>
            <a:fld id="{2DD5322D-18EE-4767-98F8-797CAD90D909}" type="datetime1">
              <a:rPr lang="en-US" smtClean="0"/>
              <a:t>10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71678"/>
            <a:ext cx="3086100" cy="27409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71678"/>
            <a:ext cx="2057400" cy="274097"/>
          </a:xfrm>
          <a:prstGeom prst="rect">
            <a:avLst/>
          </a:prstGeom>
        </p:spPr>
        <p:txBody>
          <a:bodyPr/>
          <a:lstStyle/>
          <a:p>
            <a:fld id="{6DF24603-9A1B-F342-92E0-89DE32840F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656380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ppendix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3"/>
          <a:ext cx="1587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26" name="Слайд think-cell" r:id="rId4" imgW="360" imgH="360" progId="">
                  <p:embed/>
                </p:oleObj>
              </mc:Choice>
              <mc:Fallback>
                <p:oleObj name="Слайд think-cell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3"/>
                        <a:ext cx="1587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468313" y="0"/>
            <a:ext cx="7632700" cy="722187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259763" y="4840798"/>
            <a:ext cx="627062" cy="28363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034C10E3-4B2A-4D26-9CDF-8045FBD6FC0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341390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 userDrawn="1"/>
        </p:nvSpPr>
        <p:spPr>
          <a:xfrm>
            <a:off x="430920" y="1789976"/>
            <a:ext cx="4429906" cy="997099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>
              <a:lnSpc>
                <a:spcPts val="3780"/>
              </a:lnSpc>
            </a:pPr>
            <a:r>
              <a:rPr lang="ru-RU" sz="41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1.1.</a:t>
            </a:r>
          </a:p>
          <a:p>
            <a:pPr>
              <a:lnSpc>
                <a:spcPts val="3780"/>
              </a:lnSpc>
            </a:pPr>
            <a:endParaRPr lang="ru-RU" sz="4100" b="1" dirty="0" smtClean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  <a:p>
            <a:pPr>
              <a:lnSpc>
                <a:spcPts val="3780"/>
              </a:lnSpc>
            </a:pPr>
            <a:r>
              <a:rPr lang="ru-RU" sz="4100" b="1" dirty="0" err="1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Перебивочный</a:t>
            </a:r>
            <a:r>
              <a:rPr lang="ru-RU" sz="41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 </a:t>
            </a:r>
          </a:p>
          <a:p>
            <a:pPr>
              <a:lnSpc>
                <a:spcPts val="3780"/>
              </a:lnSpc>
            </a:pPr>
            <a:r>
              <a:rPr lang="ru-RU" sz="41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слайд</a:t>
            </a:r>
            <a:endParaRPr lang="ru-RU" sz="4100" b="1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850998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098"/>
            <a:ext cx="7886700" cy="99509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70486"/>
            <a:ext cx="7886700" cy="326652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71678"/>
            <a:ext cx="2057400" cy="274097"/>
          </a:xfrm>
          <a:prstGeom prst="rect">
            <a:avLst/>
          </a:prstGeom>
        </p:spPr>
        <p:txBody>
          <a:bodyPr/>
          <a:lstStyle/>
          <a:p>
            <a:fld id="{9ED5CB5A-577A-47CE-A77B-9EC92E483346}" type="datetime1">
              <a:rPr lang="en-US" smtClean="0"/>
              <a:t>10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71678"/>
            <a:ext cx="3086100" cy="27409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71678"/>
            <a:ext cx="2057400" cy="274097"/>
          </a:xfrm>
          <a:prstGeom prst="rect">
            <a:avLst/>
          </a:prstGeom>
        </p:spPr>
        <p:txBody>
          <a:bodyPr/>
          <a:lstStyle/>
          <a:p>
            <a:fld id="{6DF24603-9A1B-F342-92E0-89DE32840F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9202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3"/>
          <a:ext cx="1587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1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193"/>
                        <a:ext cx="1587" cy="119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201262"/>
            <a:ext cx="8229600" cy="339761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6553200" y="4688256"/>
            <a:ext cx="2133600" cy="357518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B858E8B2-FF20-41D0-B1FD-781215B07CA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72289341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 userDrawn="1"/>
        </p:nvSpPr>
        <p:spPr>
          <a:xfrm>
            <a:off x="425690" y="1483832"/>
            <a:ext cx="3931080" cy="2421666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аким образом, начало повседневной работы </a:t>
            </a:r>
          </a:p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по формированию позиции создает предпосылки качественно новых шагов для новых предложений. Соображения высшего порядка, а также дальнейшее развитие различных форм деятельности требует от нас системного анализа направлений. </a:t>
            </a:r>
          </a:p>
          <a:p>
            <a:pPr lvl="0">
              <a:spcBef>
                <a:spcPct val="0"/>
              </a:spcBef>
            </a:pPr>
            <a:endParaRPr lang="ru-RU" sz="1200" dirty="0" smtClean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Таким образом, начало повседневной работы </a:t>
            </a:r>
          </a:p>
          <a:p>
            <a:pPr lvl="0">
              <a:spcBef>
                <a:spcPct val="0"/>
              </a:spcBef>
            </a:pPr>
            <a:r>
              <a:rPr lang="ru-RU" sz="12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по формированию позиции создает предпосылки качественно новых шагов для новых предложений. Соображения высшего порядка, а также дальнейшее развитие различных форм деятельности</a:t>
            </a:r>
          </a:p>
        </p:txBody>
      </p:sp>
      <p:pic>
        <p:nvPicPr>
          <p:cNvPr id="8" name="Picture 3" descr="C:\Users\Garvis\Desktop\атом_0812\Презы\Файлы для презентации_цфо-1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4721116" y="1383145"/>
            <a:ext cx="4034808" cy="2558367"/>
          </a:xfrm>
          <a:prstGeom prst="rect">
            <a:avLst/>
          </a:prstGeom>
          <a:noFill/>
        </p:spPr>
      </p:pic>
      <p:sp>
        <p:nvSpPr>
          <p:cNvPr id="9" name="Заголовок 1"/>
          <p:cNvSpPr txBox="1">
            <a:spLocks/>
          </p:cNvSpPr>
          <p:nvPr userDrawn="1"/>
        </p:nvSpPr>
        <p:spPr>
          <a:xfrm>
            <a:off x="387903" y="38739"/>
            <a:ext cx="4803513" cy="997099"/>
          </a:xfrm>
          <a:prstGeom prst="rect">
            <a:avLst/>
          </a:prstGeom>
        </p:spPr>
        <p:txBody>
          <a:bodyPr vert="horz" lIns="144000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2300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Заголовок</a:t>
            </a:r>
            <a:endParaRPr lang="ru-RU" sz="2300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Прямоугольник 2"/>
          <p:cNvSpPr/>
          <p:nvPr userDrawn="1"/>
        </p:nvSpPr>
        <p:spPr>
          <a:xfrm>
            <a:off x="504000" y="4684334"/>
            <a:ext cx="4572794" cy="142757"/>
          </a:xfrm>
          <a:prstGeom prst="rect">
            <a:avLst/>
          </a:prstGeom>
        </p:spPr>
        <p:txBody>
          <a:bodyPr lIns="34567" tIns="17283" rIns="34567" bIns="17283">
            <a:spAutoFit/>
          </a:bodyPr>
          <a:lstStyle/>
          <a:p>
            <a:r>
              <a:rPr lang="ru-RU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Место для указания источников и сносок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1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732000" y="4648301"/>
            <a:ext cx="2133600" cy="274351"/>
          </a:xfrm>
          <a:prstGeom prst="rect">
            <a:avLst/>
          </a:prstGeom>
        </p:spPr>
        <p:txBody>
          <a:bodyPr/>
          <a:lstStyle/>
          <a:p>
            <a:pPr algn="r"/>
            <a:r>
              <a:rPr lang="en-US" sz="7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3</a:t>
            </a:r>
            <a:endParaRPr lang="ru-RU" sz="700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345517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098"/>
            <a:ext cx="7886700" cy="99509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70486"/>
            <a:ext cx="7886700" cy="326652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71678"/>
            <a:ext cx="2057400" cy="274097"/>
          </a:xfrm>
          <a:prstGeom prst="rect">
            <a:avLst/>
          </a:prstGeom>
        </p:spPr>
        <p:txBody>
          <a:bodyPr/>
          <a:lstStyle/>
          <a:p>
            <a:fld id="{F0B855EB-62CE-4CBC-BD1D-F7543E39A6A2}" type="datetime1">
              <a:rPr lang="en-US" smtClean="0"/>
              <a:t>10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71678"/>
            <a:ext cx="3086100" cy="27409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71678"/>
            <a:ext cx="2057400" cy="274097"/>
          </a:xfrm>
          <a:prstGeom prst="rect">
            <a:avLst/>
          </a:prstGeom>
        </p:spPr>
        <p:txBody>
          <a:bodyPr/>
          <a:lstStyle/>
          <a:p>
            <a:fld id="{6DF24603-9A1B-F342-92E0-89DE32840F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19691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 txBox="1">
            <a:spLocks/>
          </p:cNvSpPr>
          <p:nvPr/>
        </p:nvSpPr>
        <p:spPr>
          <a:xfrm>
            <a:off x="468340" y="4172175"/>
            <a:ext cx="2786567" cy="566581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400" b="1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Фамилия Имя Отчество</a:t>
            </a:r>
          </a:p>
          <a:p>
            <a:pPr lvl="0">
              <a:spcBef>
                <a:spcPct val="0"/>
              </a:spcBef>
            </a:pPr>
            <a:r>
              <a:rPr lang="ru-RU" sz="1400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Должность</a:t>
            </a:r>
            <a:endParaRPr lang="ru-RU" sz="1400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430126" y="2011864"/>
            <a:ext cx="4429906" cy="997099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>
              <a:lnSpc>
                <a:spcPts val="3780"/>
              </a:lnSpc>
            </a:pPr>
            <a:r>
              <a:rPr lang="ru-RU" sz="27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Тема </a:t>
            </a:r>
          </a:p>
          <a:p>
            <a:pPr>
              <a:lnSpc>
                <a:spcPts val="3780"/>
              </a:lnSpc>
            </a:pPr>
            <a:r>
              <a:rPr lang="ru-RU" sz="2700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презентации</a:t>
            </a:r>
            <a:endParaRPr lang="ru-RU" sz="2700" b="1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467544" y="3656856"/>
            <a:ext cx="4886550" cy="566581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Наименование мероприятия</a:t>
            </a:r>
            <a:r>
              <a:rPr lang="en-US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/</a:t>
            </a:r>
            <a:r>
              <a:rPr lang="en-US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 </a:t>
            </a:r>
            <a:r>
              <a:rPr lang="ru-RU" sz="1400" dirty="0" smtClean="0">
                <a:solidFill>
                  <a:srgbClr val="333333"/>
                </a:solidFill>
                <a:latin typeface="Arial" panose="020B0604020202020204" pitchFamily="34" charset="0"/>
                <a:ea typeface="Rosatom Light" pitchFamily="34" charset="-52"/>
                <a:cs typeface="Arial" pitchFamily="34" charset="0"/>
              </a:rPr>
              <a:t>название площадки</a:t>
            </a:r>
            <a:endParaRPr lang="ru-RU" sz="1400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754819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4098"/>
            <a:ext cx="7886700" cy="995093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8650" y="1370486"/>
            <a:ext cx="7886700" cy="326652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28650" y="4771678"/>
            <a:ext cx="2057400" cy="274097"/>
          </a:xfrm>
          <a:prstGeom prst="rect">
            <a:avLst/>
          </a:prstGeom>
        </p:spPr>
        <p:txBody>
          <a:bodyPr/>
          <a:lstStyle/>
          <a:p>
            <a:fld id="{2DD5322D-18EE-4767-98F8-797CAD90D909}" type="datetime1">
              <a:rPr lang="en-US" smtClean="0"/>
              <a:t>10/27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028950" y="4771678"/>
            <a:ext cx="3086100" cy="27409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7950" y="4771678"/>
            <a:ext cx="2057400" cy="274097"/>
          </a:xfrm>
          <a:prstGeom prst="rect">
            <a:avLst/>
          </a:prstGeom>
        </p:spPr>
        <p:txBody>
          <a:bodyPr/>
          <a:lstStyle/>
          <a:p>
            <a:fld id="{6DF24603-9A1B-F342-92E0-89DE32840F7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91863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.jpeg"/><Relationship Id="rId5" Type="http://schemas.openxmlformats.org/officeDocument/2006/relationships/image" Target="../media/image1.png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6.png"/><Relationship Id="rId4" Type="http://schemas.openxmlformats.org/officeDocument/2006/relationships/image" Target="../media/image1.png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8.pn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image" Target="../media/image1.png"/><Relationship Id="rId5" Type="http://schemas.openxmlformats.org/officeDocument/2006/relationships/theme" Target="../theme/theme4.xml"/><Relationship Id="rId4" Type="http://schemas.openxmlformats.org/officeDocument/2006/relationships/slideLayout" Target="../slideLayouts/slideLayout11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9.pn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heme" Target="../theme/theme6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0.png"/><Relationship Id="rId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414722"/>
            <a:ext cx="816864" cy="1046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22484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7" r:id="rId1"/>
    <p:sldLayoutId id="2147483783" r:id="rId2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2523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3009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0" r:id="rId1"/>
    <p:sldLayoutId id="2147483773" r:id="rId2"/>
    <p:sldLayoutId id="2147483784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9608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4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52839"/>
          </a:xfrm>
          <a:prstGeom prst="rect">
            <a:avLst/>
          </a:prstGeom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750" y="414722"/>
            <a:ext cx="2359152" cy="723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3616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6" r:id="rId1"/>
    <p:sldLayoutId id="2147483777" r:id="rId2"/>
    <p:sldLayoutId id="2147483782" r:id="rId3"/>
    <p:sldLayoutId id="2147483785" r:id="rId4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2523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7819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0"/>
            <a:ext cx="9135879" cy="5148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51480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6" r:id="rId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6.jpe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7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20.png"/><Relationship Id="rId5" Type="http://schemas.openxmlformats.org/officeDocument/2006/relationships/image" Target="../media/image19.jpeg"/><Relationship Id="rId4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Relationship Id="rId5" Type="http://schemas.openxmlformats.org/officeDocument/2006/relationships/image" Target="../media/image23.jpeg"/><Relationship Id="rId4" Type="http://schemas.openxmlformats.org/officeDocument/2006/relationships/image" Target="../media/image22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179512" y="3507069"/>
            <a:ext cx="7632848" cy="1112705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r>
              <a:rPr lang="ru-RU" sz="1600" dirty="0" smtClean="0">
                <a:solidFill>
                  <a:srgbClr val="002060"/>
                </a:solidFill>
                <a:ea typeface="Rosatom Light" pitchFamily="34" charset="-52"/>
                <a:cs typeface="Arial" pitchFamily="34" charset="0"/>
              </a:rPr>
              <a:t>Журавлев А.В., Жилкин В.М., Солодских П.И., Неумолотов А.С.</a:t>
            </a:r>
            <a:r>
              <a:rPr lang="ru-RU" sz="1600" dirty="0">
                <a:solidFill>
                  <a:srgbClr val="002060"/>
                </a:solidFill>
                <a:ea typeface="Rosatom Light" pitchFamily="34" charset="-52"/>
                <a:cs typeface="Arial" pitchFamily="34" charset="0"/>
              </a:rPr>
              <a:t>,</a:t>
            </a:r>
            <a:endParaRPr lang="ru-RU" sz="1600" dirty="0" smtClean="0">
              <a:solidFill>
                <a:srgbClr val="002060"/>
              </a:solidFill>
              <a:ea typeface="Rosatom Light" pitchFamily="34" charset="-52"/>
              <a:cs typeface="Arial" pitchFamily="34" charset="0"/>
            </a:endParaRPr>
          </a:p>
          <a:p>
            <a:pPr lvl="0">
              <a:spcBef>
                <a:spcPct val="0"/>
              </a:spcBef>
            </a:pPr>
            <a:r>
              <a:rPr lang="ru-RU" sz="1600" dirty="0" smtClean="0">
                <a:solidFill>
                  <a:srgbClr val="002060"/>
                </a:solidFill>
                <a:ea typeface="Rosatom Light" pitchFamily="34" charset="-52"/>
                <a:cs typeface="Arial" pitchFamily="34" charset="0"/>
              </a:rPr>
              <a:t>АО «СНИИП»</a:t>
            </a:r>
            <a:endParaRPr lang="ru-RU" sz="1600" dirty="0">
              <a:solidFill>
                <a:srgbClr val="002060"/>
              </a:solidFill>
              <a:ea typeface="Rosatom Light" pitchFamily="34" charset="-52"/>
              <a:cs typeface="Arial" pitchFamily="34" charset="0"/>
            </a:endParaRPr>
          </a:p>
          <a:p>
            <a:pPr lvl="0">
              <a:spcBef>
                <a:spcPct val="0"/>
              </a:spcBef>
            </a:pPr>
            <a:r>
              <a:rPr lang="ru-RU" sz="1600" dirty="0" smtClean="0">
                <a:solidFill>
                  <a:srgbClr val="002060"/>
                </a:solidFill>
                <a:ea typeface="Rosatom Light" pitchFamily="34" charset="-52"/>
                <a:cs typeface="Arial" pitchFamily="34" charset="0"/>
              </a:rPr>
              <a:t>СНИИП, Москва, 2022г. 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23555" y="1638027"/>
            <a:ext cx="8102314" cy="1584176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algn="ctr">
              <a:lnSpc>
                <a:spcPts val="3780"/>
              </a:lnSpc>
            </a:pPr>
            <a:r>
              <a:rPr lang="ru-RU" sz="2400" b="1" dirty="0" smtClean="0">
                <a:solidFill>
                  <a:srgbClr val="002060"/>
                </a:solidFill>
              </a:rPr>
              <a:t>Разработка и аттестация рабочего эталона единиц плотности потока тепловых нейтронов в диапазоне значений от 1,0 до 5,6·10</a:t>
            </a:r>
            <a:r>
              <a:rPr lang="ru-RU" sz="2400" b="1" baseline="30000" dirty="0" smtClean="0">
                <a:solidFill>
                  <a:srgbClr val="002060"/>
                </a:solidFill>
              </a:rPr>
              <a:t>4</a:t>
            </a:r>
            <a:r>
              <a:rPr lang="ru-RU" sz="2400" b="1" dirty="0" smtClean="0">
                <a:solidFill>
                  <a:srgbClr val="002060"/>
                </a:solidFill>
              </a:rPr>
              <a:t> с</a:t>
            </a:r>
            <a:r>
              <a:rPr lang="ru-RU" sz="2400" b="1" baseline="30000" dirty="0" smtClean="0">
                <a:solidFill>
                  <a:srgbClr val="002060"/>
                </a:solidFill>
              </a:rPr>
              <a:t>-1</a:t>
            </a:r>
            <a:r>
              <a:rPr lang="ru-RU" sz="2400" b="1" dirty="0" smtClean="0">
                <a:solidFill>
                  <a:srgbClr val="002060"/>
                </a:solidFill>
              </a:rPr>
              <a:t>·см</a:t>
            </a:r>
            <a:r>
              <a:rPr lang="ru-RU" sz="2400" b="1" baseline="30000" dirty="0" smtClean="0">
                <a:solidFill>
                  <a:srgbClr val="002060"/>
                </a:solidFill>
              </a:rPr>
              <a:t>-2</a:t>
            </a:r>
            <a:endParaRPr lang="ru-RU" sz="2400" baseline="30000" dirty="0">
              <a:solidFill>
                <a:srgbClr val="002060"/>
              </a:solidFill>
            </a:endParaRP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467544" y="3653472"/>
            <a:ext cx="5472608" cy="566057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>
              <a:spcBef>
                <a:spcPts val="600"/>
              </a:spcBef>
            </a:pPr>
            <a:endParaRPr lang="ru-RU" sz="1400" dirty="0">
              <a:solidFill>
                <a:srgbClr val="002060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44016" y="314703"/>
            <a:ext cx="2915816" cy="920692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5724128" y="3624835"/>
            <a:ext cx="187220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solidFill>
                  <a:srgbClr val="002060"/>
                </a:solidFill>
                <a:ea typeface="Rosatom Light" pitchFamily="34" charset="-52"/>
                <a:cs typeface="Arial" pitchFamily="34" charset="0"/>
              </a:rPr>
              <a:t>Чебышов С.Б</a:t>
            </a:r>
            <a:r>
              <a:rPr lang="ru-RU" dirty="0" smtClean="0">
                <a:solidFill>
                  <a:srgbClr val="002060"/>
                </a:solidFill>
                <a:ea typeface="Rosatom Light" pitchFamily="34" charset="-52"/>
                <a:cs typeface="Arial" pitchFamily="34" charset="0"/>
              </a:rPr>
              <a:t>. 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4510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/>
          <p:cNvSpPr txBox="1">
            <a:spLocks/>
          </p:cNvSpPr>
          <p:nvPr/>
        </p:nvSpPr>
        <p:spPr>
          <a:xfrm>
            <a:off x="467544" y="246815"/>
            <a:ext cx="5780554" cy="959164"/>
          </a:xfrm>
          <a:prstGeom prst="rect">
            <a:avLst/>
          </a:prstGeom>
        </p:spPr>
        <p:txBody>
          <a:bodyPr vert="horz" lIns="156745" tIns="54050" rIns="179042" bIns="89522" rtlCol="0" anchor="t" anchorCtr="0">
            <a:noAutofit/>
          </a:bodyPr>
          <a:lstStyle/>
          <a:p>
            <a:pPr lvl="0" algn="ctr">
              <a:spcBef>
                <a:spcPct val="0"/>
              </a:spcBef>
            </a:pPr>
            <a:r>
              <a:rPr lang="ru-RU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Необходимость разработки рабочего эталона </a:t>
            </a:r>
            <a:r>
              <a:rPr lang="ru-RU" b="1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 единиц плотности потока тепловых нейтронов в диапазоне значений от 1,0 до 5,6·10</a:t>
            </a:r>
            <a:r>
              <a:rPr lang="ru-RU" b="1" baseline="30000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4</a:t>
            </a:r>
            <a:r>
              <a:rPr lang="ru-RU" b="1" dirty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ru-RU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с</a:t>
            </a:r>
            <a:r>
              <a:rPr lang="ru-RU" b="1" baseline="300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-1</a:t>
            </a:r>
            <a:r>
              <a:rPr lang="ru-RU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·см</a:t>
            </a:r>
            <a:r>
              <a:rPr lang="ru-RU" b="1" baseline="30000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-2 </a:t>
            </a:r>
            <a:r>
              <a:rPr lang="ru-RU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обусловлена:</a:t>
            </a:r>
            <a:endParaRPr lang="ru-RU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  <a:p>
            <a:pPr lvl="0" algn="ctr">
              <a:spcBef>
                <a:spcPct val="0"/>
              </a:spcBef>
            </a:pPr>
            <a:endParaRPr lang="ru-RU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8099" y="291103"/>
            <a:ext cx="1273534" cy="402129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>
          <a:xfrm>
            <a:off x="5787890" y="1947055"/>
            <a:ext cx="2193951" cy="181588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Необходимостью хранения и передачи единиц величин плотности потока  тепловых нейтронов со значением от 10</a:t>
            </a:r>
            <a:r>
              <a:rPr lang="ru-RU" sz="1600" baseline="30000" dirty="0"/>
              <a:t>4</a:t>
            </a:r>
            <a:r>
              <a:rPr lang="ru-RU" sz="1600" dirty="0"/>
              <a:t> и более 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3106417" y="1947799"/>
            <a:ext cx="2150283" cy="181588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Геометрическими размерами блоков детектирования не позволяющими создать </a:t>
            </a:r>
            <a:r>
              <a:rPr lang="ru-RU" sz="1600" dirty="0" smtClean="0"/>
              <a:t>по всей длине </a:t>
            </a:r>
            <a:r>
              <a:rPr lang="ru-RU" sz="1600" dirty="0"/>
              <a:t>поле нейтронов от эталонной установки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88706" y="1947799"/>
            <a:ext cx="1763688" cy="181588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1600" dirty="0"/>
              <a:t>Потребностью в  поверке устройств детектирования плотности потока тепловых нейтронов;</a:t>
            </a:r>
          </a:p>
        </p:txBody>
      </p:sp>
    </p:spTree>
    <p:extLst>
      <p:ext uri="{BB962C8B-B14F-4D97-AF65-F5344CB8AC3E}">
        <p14:creationId xmlns:p14="http://schemas.microsoft.com/office/powerpoint/2010/main" val="2807929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Заголовок 1"/>
          <p:cNvSpPr txBox="1">
            <a:spLocks/>
          </p:cNvSpPr>
          <p:nvPr/>
        </p:nvSpPr>
        <p:spPr>
          <a:xfrm>
            <a:off x="387902" y="38702"/>
            <a:ext cx="7496466" cy="996177"/>
          </a:xfrm>
          <a:prstGeom prst="rect">
            <a:avLst/>
          </a:prstGeom>
        </p:spPr>
        <p:txBody>
          <a:bodyPr vert="horz" lIns="144000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endParaRPr lang="ru-RU" sz="24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7315" y="319146"/>
            <a:ext cx="1296143" cy="409268"/>
          </a:xfrm>
          <a:prstGeom prst="rect">
            <a:avLst/>
          </a:prstGeom>
        </p:spPr>
      </p:pic>
      <p:sp>
        <p:nvSpPr>
          <p:cNvPr id="98" name="Text Box 112"/>
          <p:cNvSpPr txBox="1">
            <a:spLocks noChangeArrowheads="1"/>
          </p:cNvSpPr>
          <p:nvPr/>
        </p:nvSpPr>
        <p:spPr bwMode="auto">
          <a:xfrm>
            <a:off x="3275286" y="1282934"/>
            <a:ext cx="13684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ru-RU" altLang="ru-RU" sz="1200"/>
          </a:p>
        </p:txBody>
      </p:sp>
      <p:sp>
        <p:nvSpPr>
          <p:cNvPr id="128" name="Прямоугольник 127"/>
          <p:cNvSpPr/>
          <p:nvPr/>
        </p:nvSpPr>
        <p:spPr>
          <a:xfrm>
            <a:off x="1003259" y="166901"/>
            <a:ext cx="591247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значение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чего </a:t>
            </a:r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талона 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диниц плотности потока тепловых нейтронов в диапазоне значений от 1,0 до 5,6·10</a:t>
            </a:r>
            <a:r>
              <a:rPr lang="ru-RU" b="1" baseline="30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с</a:t>
            </a:r>
            <a:r>
              <a:rPr lang="ru-RU" b="1" baseline="30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1</a:t>
            </a: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·см</a:t>
            </a:r>
            <a:r>
              <a:rPr lang="ru-RU" b="1" baseline="300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2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356759" y="1354360"/>
            <a:ext cx="651594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 smtClean="0"/>
          </a:p>
          <a:p>
            <a:endParaRPr lang="ru-RU" dirty="0"/>
          </a:p>
          <a:p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539552" y="1161657"/>
            <a:ext cx="727280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/>
              <a:t>Эталон применяется для поверки устройств детектирования </a:t>
            </a:r>
            <a:r>
              <a:rPr lang="ru-RU" dirty="0" smtClean="0"/>
              <a:t>УДПН-33Р</a:t>
            </a:r>
            <a:r>
              <a:rPr lang="ru-RU" dirty="0"/>
              <a:t>, УДПН-33Р1, УДПН-33Р2, </a:t>
            </a:r>
            <a:r>
              <a:rPr lang="ru-RU" dirty="0" smtClean="0"/>
              <a:t>УДПН-33Р3 , а также устройств и блоков детектирования, в которых в качестве детектора нейтронов используются ионизационные камеры деления КНК15 </a:t>
            </a:r>
            <a:endParaRPr lang="ru-RU" dirty="0"/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9552" y="2597172"/>
            <a:ext cx="2681705" cy="1849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1287" y="2692942"/>
            <a:ext cx="2765210" cy="14952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245" y="2773413"/>
            <a:ext cx="2222139" cy="14148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4144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Заголовок 1"/>
          <p:cNvSpPr txBox="1">
            <a:spLocks/>
          </p:cNvSpPr>
          <p:nvPr/>
        </p:nvSpPr>
        <p:spPr>
          <a:xfrm>
            <a:off x="387902" y="38702"/>
            <a:ext cx="7496466" cy="996177"/>
          </a:xfrm>
          <a:prstGeom prst="rect">
            <a:avLst/>
          </a:prstGeom>
        </p:spPr>
        <p:txBody>
          <a:bodyPr vert="horz" lIns="144000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endParaRPr lang="ru-RU" sz="24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7315" y="319146"/>
            <a:ext cx="1296143" cy="409268"/>
          </a:xfrm>
          <a:prstGeom prst="rect">
            <a:avLst/>
          </a:prstGeom>
        </p:spPr>
      </p:pic>
      <p:sp>
        <p:nvSpPr>
          <p:cNvPr id="98" name="Text Box 112"/>
          <p:cNvSpPr txBox="1">
            <a:spLocks noChangeArrowheads="1"/>
          </p:cNvSpPr>
          <p:nvPr/>
        </p:nvSpPr>
        <p:spPr bwMode="auto">
          <a:xfrm>
            <a:off x="3275286" y="1282934"/>
            <a:ext cx="136842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>
              <a:spcBef>
                <a:spcPct val="50000"/>
              </a:spcBef>
            </a:pPr>
            <a:endParaRPr lang="ru-RU" altLang="ru-RU" sz="1200"/>
          </a:p>
        </p:txBody>
      </p:sp>
      <p:sp>
        <p:nvSpPr>
          <p:cNvPr id="128" name="Прямоугольник 127"/>
          <p:cNvSpPr/>
          <p:nvPr/>
        </p:nvSpPr>
        <p:spPr>
          <a:xfrm>
            <a:off x="2547954" y="197867"/>
            <a:ext cx="309392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став рабочего эталона</a:t>
            </a:r>
            <a:endParaRPr lang="ru-RU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0" y="726364"/>
            <a:ext cx="428396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ru-RU" dirty="0" smtClean="0"/>
          </a:p>
          <a:p>
            <a:endParaRPr lang="ru-RU" dirty="0"/>
          </a:p>
          <a:p>
            <a:r>
              <a:rPr lang="ru-RU" dirty="0" smtClean="0"/>
              <a:t>В </a:t>
            </a:r>
            <a:r>
              <a:rPr lang="ru-RU" dirty="0"/>
              <a:t>состав эталона вошли устройства:</a:t>
            </a:r>
          </a:p>
          <a:p>
            <a:r>
              <a:rPr lang="ru-RU" dirty="0"/>
              <a:t>блок детектирования 	БДПН-43Р;</a:t>
            </a:r>
          </a:p>
          <a:p>
            <a:r>
              <a:rPr lang="ru-RU" dirty="0"/>
              <a:t>блок преобразования	БПХ-87Р;</a:t>
            </a:r>
          </a:p>
          <a:p>
            <a:r>
              <a:rPr lang="ru-RU" dirty="0"/>
              <a:t>блок вспомогательный	БХ-160Р1;</a:t>
            </a:r>
          </a:p>
          <a:p>
            <a:r>
              <a:rPr lang="ru-RU" dirty="0"/>
              <a:t>установка радиоактивного излучения нейтронов УРН-1;</a:t>
            </a:r>
          </a:p>
          <a:p>
            <a:r>
              <a:rPr lang="ru-RU" dirty="0" err="1"/>
              <a:t>радионуклидные</a:t>
            </a:r>
            <a:r>
              <a:rPr lang="ru-RU" dirty="0"/>
              <a:t> источники нейтронного </a:t>
            </a:r>
            <a:r>
              <a:rPr lang="ru-RU" dirty="0" smtClean="0"/>
              <a:t>излучения ИБН-8-7</a:t>
            </a:r>
            <a:r>
              <a:rPr lang="ru-RU" dirty="0"/>
              <a:t>, ИБН-23, </a:t>
            </a:r>
            <a:r>
              <a:rPr lang="ru-RU" dirty="0" smtClean="0"/>
              <a:t>ИБН-6, НК252М11.</a:t>
            </a:r>
          </a:p>
          <a:p>
            <a:endParaRPr lang="ru-RU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400999" y="1283610"/>
            <a:ext cx="4012633" cy="30129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985388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Заголовок 1"/>
          <p:cNvSpPr txBox="1">
            <a:spLocks/>
          </p:cNvSpPr>
          <p:nvPr/>
        </p:nvSpPr>
        <p:spPr>
          <a:xfrm>
            <a:off x="387902" y="38702"/>
            <a:ext cx="7496466" cy="996177"/>
          </a:xfrm>
          <a:prstGeom prst="rect">
            <a:avLst/>
          </a:prstGeom>
        </p:spPr>
        <p:txBody>
          <a:bodyPr vert="horz" lIns="144000" tIns="49709" rIns="99417" bIns="49709" rtlCol="0" anchor="ctr">
            <a:noAutofit/>
          </a:bodyPr>
          <a:lstStyle/>
          <a:p>
            <a:pPr lvl="0">
              <a:spcBef>
                <a:spcPct val="0"/>
              </a:spcBef>
            </a:pPr>
            <a:endParaRPr lang="ru-RU" sz="2400" b="1" dirty="0">
              <a:latin typeface="Arial" pitchFamily="34" charset="0"/>
              <a:cs typeface="Arial" pitchFamily="34" charset="0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7315" y="319146"/>
            <a:ext cx="1296143" cy="409268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246344" y="24534"/>
            <a:ext cx="6989952" cy="11387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10260" indent="-810260" algn="ctr"/>
            <a:endParaRPr lang="ru-RU" b="1" dirty="0" smtClean="0"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810260" indent="-810260" algn="ctr"/>
            <a:r>
              <a:rPr lang="ru-RU" b="1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стройство детектирования УДПН-33Р</a:t>
            </a:r>
          </a:p>
          <a:p>
            <a:pPr marL="810260" indent="-810260" algn="ctr"/>
            <a:r>
              <a:rPr lang="ru-RU" sz="16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(диапазон измерения  плотности потока тепловых нейтронов </a:t>
            </a:r>
          </a:p>
          <a:p>
            <a:pPr marL="810260" indent="-810260" algn="ctr"/>
            <a:r>
              <a:rPr lang="ru-RU" sz="16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т 1 до 1·10</a:t>
            </a:r>
            <a:r>
              <a:rPr lang="ru-RU" sz="1600" baseline="300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6</a:t>
            </a:r>
            <a:r>
              <a:rPr lang="ru-RU" sz="16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 см-</a:t>
            </a:r>
            <a:r>
              <a:rPr lang="ru-RU" sz="1600" baseline="300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1</a:t>
            </a:r>
            <a:r>
              <a:rPr lang="ru-RU" sz="16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·с</a:t>
            </a:r>
            <a:r>
              <a:rPr lang="ru-RU" sz="1600" baseline="300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-1</a:t>
            </a:r>
            <a:r>
              <a:rPr lang="ru-RU" sz="1600" dirty="0" smtClean="0"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)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2944969" y="1574748"/>
            <a:ext cx="2382332" cy="178881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5150725" y="1574748"/>
            <a:ext cx="2382332" cy="178881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1560" y="1295071"/>
            <a:ext cx="2006712" cy="2365248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759806" y="3920511"/>
            <a:ext cx="1858465" cy="83099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/>
              <a:t>Блок детектирования БДПН-43Р</a:t>
            </a:r>
            <a:endParaRPr lang="ru-RU" sz="1600" dirty="0"/>
          </a:p>
        </p:txBody>
      </p:sp>
      <p:sp>
        <p:nvSpPr>
          <p:cNvPr id="8" name="TextBox 7"/>
          <p:cNvSpPr txBox="1"/>
          <p:nvPr/>
        </p:nvSpPr>
        <p:spPr>
          <a:xfrm>
            <a:off x="3227667" y="3925139"/>
            <a:ext cx="1802873" cy="83099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/>
              <a:t>Блок преобразования БПХ-87Р</a:t>
            </a:r>
            <a:endParaRPr lang="ru-RU" sz="1600" dirty="0"/>
          </a:p>
        </p:txBody>
      </p:sp>
      <p:sp>
        <p:nvSpPr>
          <p:cNvPr id="9" name="TextBox 8"/>
          <p:cNvSpPr txBox="1"/>
          <p:nvPr/>
        </p:nvSpPr>
        <p:spPr>
          <a:xfrm>
            <a:off x="5473653" y="3920511"/>
            <a:ext cx="1788810" cy="830997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1600" dirty="0" smtClean="0"/>
              <a:t>Блок вспомогательный БХ-160Р1</a:t>
            </a:r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12376528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AutoShape 2" descr="Идет обработка результатов экспериментов на критическом стенде БФС-2.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prstClr val="black"/>
              </a:solidFill>
            </a:endParaRPr>
          </a:p>
        </p:txBody>
      </p:sp>
      <p:sp>
        <p:nvSpPr>
          <p:cNvPr id="7" name="AutoShape 2" descr="http://www.atominfo.ru/newsz03/a0890_2s.jpg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0" y="-14038"/>
            <a:ext cx="7992888" cy="5103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3780"/>
              </a:lnSpc>
            </a:pPr>
            <a:r>
              <a:rPr lang="ru-RU" b="1" dirty="0" smtClean="0">
                <a:solidFill>
                  <a:srgbClr val="333333"/>
                </a:solidFill>
                <a:latin typeface="Arial" pitchFamily="34" charset="0"/>
                <a:ea typeface="Rosatom Light" pitchFamily="34" charset="-52"/>
                <a:cs typeface="Arial" pitchFamily="34" charset="0"/>
              </a:rPr>
              <a:t>Установка радиоактивного излучения нейтронов УРН-1</a:t>
            </a:r>
            <a:endParaRPr lang="ru-RU" b="1" dirty="0">
              <a:solidFill>
                <a:srgbClr val="333333"/>
              </a:solidFill>
              <a:latin typeface="Arial" pitchFamily="34" charset="0"/>
              <a:ea typeface="Rosatom Light" pitchFamily="34" charset="-52"/>
              <a:cs typeface="Arial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875913" y="3120843"/>
            <a:ext cx="2078265" cy="1954867"/>
          </a:xfrm>
          <a:prstGeom prst="rect">
            <a:avLst/>
          </a:prstGeom>
        </p:spPr>
      </p:pic>
      <p:pic>
        <p:nvPicPr>
          <p:cNvPr id="13" name="Рисунок 12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008" y="1061964"/>
            <a:ext cx="2901824" cy="2520280"/>
          </a:xfrm>
          <a:prstGeom prst="rect">
            <a:avLst/>
          </a:prstGeom>
          <a:noFill/>
          <a:ln>
            <a:noFill/>
          </a:ln>
        </p:spPr>
      </p:pic>
      <p:sp>
        <p:nvSpPr>
          <p:cNvPr id="5" name="TextBox 4"/>
          <p:cNvSpPr txBox="1"/>
          <p:nvPr/>
        </p:nvSpPr>
        <p:spPr>
          <a:xfrm>
            <a:off x="2843808" y="1566019"/>
            <a:ext cx="3866759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арафиновый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замедлитель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корпусе из металлических стенок. </a:t>
            </a:r>
            <a:endParaRPr lang="ru-RU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УРН-1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замедляет быстрые нейтроны от </a:t>
            </a:r>
            <a:r>
              <a:rPr lang="ru-RU" dirty="0" err="1">
                <a:latin typeface="Arial" panose="020B0604020202020204" pitchFamily="34" charset="0"/>
                <a:cs typeface="Arial" panose="020B0604020202020204" pitchFamily="34" charset="0"/>
              </a:rPr>
              <a:t>радионуклидных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 источников нейтронного излучения и создает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ле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тепловых нейтронов в измерительной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полости.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6620135" y="813835"/>
            <a:ext cx="2548629" cy="1913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0276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"/>
          <p:cNvSpPr txBox="1">
            <a:spLocks/>
          </p:cNvSpPr>
          <p:nvPr/>
        </p:nvSpPr>
        <p:spPr>
          <a:xfrm>
            <a:off x="288891" y="38703"/>
            <a:ext cx="7019413" cy="447196"/>
          </a:xfrm>
          <a:prstGeom prst="rect">
            <a:avLst/>
          </a:prstGeom>
        </p:spPr>
        <p:txBody>
          <a:bodyPr vert="horz" lIns="144000" tIns="49709" rIns="99417" bIns="49709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Основные операции аттестации эталона</a:t>
            </a:r>
            <a:endParaRPr lang="ru-RU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7315" y="319146"/>
            <a:ext cx="1296143" cy="40926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14229092"/>
                  </p:ext>
                </p:extLst>
              </p:nvPr>
            </p:nvGraphicFramePr>
            <p:xfrm>
              <a:off x="288891" y="845938"/>
              <a:ext cx="8387565" cy="426336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4536504"/>
                    <a:gridCol w="3851061"/>
                  </a:tblGrid>
                  <a:tr h="1071195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1.</a:t>
                          </a:r>
                          <a:r>
                            <a:rPr lang="ru-RU" baseline="0" dirty="0" smtClean="0"/>
                            <a:t> </a:t>
                          </a:r>
                          <a:r>
                            <a:rPr lang="ru-RU" dirty="0" smtClean="0"/>
                            <a:t>Определение чувствительности блока детектирования БДПН-43Р к тепловым нейтронам с применением установки КИС НРД МБ.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ru-RU" sz="1800" i="1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800" i="1">
                                        <a:effectLst/>
                                        <a:latin typeface="Cambria Math" panose="02040503050406030204" pitchFamily="18" charset="0"/>
                                        <a:ea typeface="Times New Roman" panose="02020603050405020304" pitchFamily="18" charset="0"/>
                                        <a:cs typeface="Times New Roman" panose="02020603050405020304" pitchFamily="18" charset="0"/>
                                      </a:rPr>
                                      <m:t>𝑆</m:t>
                                    </m:r>
                                  </m:e>
                                  <m:sub>
                                    <m:r>
                                      <a:rPr lang="ru-RU" sz="1800" i="1">
                                        <a:effectLst/>
                                        <a:latin typeface="Cambria Math" panose="02040503050406030204" pitchFamily="18" charset="0"/>
                                        <a:ea typeface="Times New Roman" panose="02020603050405020304" pitchFamily="18" charset="0"/>
                                        <a:cs typeface="Times New Roman" panose="02020603050405020304" pitchFamily="18" charset="0"/>
                                      </a:rPr>
                                      <m:t>БД КИС</m:t>
                                    </m:r>
                                  </m:sub>
                                </m:sSub>
                                <m:r>
                                  <a:rPr lang="ru-RU" sz="1800" i="1">
                                    <a:effectLst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  <a:cs typeface="Times New Roman" panose="02020603050405020304" pitchFamily="18" charset="0"/>
                                  </a:rPr>
                                  <m:t>= </m:t>
                                </m:r>
                                <m:f>
                                  <m:fPr>
                                    <m:ctrlPr>
                                      <a:rPr lang="ru-RU" sz="18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sSub>
                                      <m:sSubPr>
                                        <m:ctrlP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  <a:ea typeface="Times New Roman" panose="02020603050405020304" pitchFamily="18" charset="0"/>
                                            <a:cs typeface="Times New Roman" panose="02020603050405020304" pitchFamily="18" charset="0"/>
                                          </a:rPr>
                                          <m:t>𝑛</m:t>
                                        </m:r>
                                      </m:e>
                                      <m:sub>
                                        <m: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  <a:ea typeface="Times New Roman" panose="02020603050405020304" pitchFamily="18" charset="0"/>
                                            <a:cs typeface="Times New Roman" panose="02020603050405020304" pitchFamily="18" charset="0"/>
                                          </a:rPr>
                                          <m:t>б.к.</m:t>
                                        </m:r>
                                      </m:sub>
                                    </m:sSub>
                                    <m:r>
                                      <a:rPr lang="ru-RU" sz="1800" i="1">
                                        <a:effectLst/>
                                        <a:latin typeface="Cambria Math" panose="02040503050406030204" pitchFamily="18" charset="0"/>
                                        <a:ea typeface="Times New Roman" panose="02020603050405020304" pitchFamily="18" charset="0"/>
                                        <a:cs typeface="Times New Roman" panose="02020603050405020304" pitchFamily="18" charset="0"/>
                                      </a:rPr>
                                      <m:t>−</m:t>
                                    </m:r>
                                    <m:sSub>
                                      <m:sSubPr>
                                        <m:ctrlP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  <a:ea typeface="Times New Roman" panose="02020603050405020304" pitchFamily="18" charset="0"/>
                                            <a:cs typeface="Times New Roman" panose="02020603050405020304" pitchFamily="18" charset="0"/>
                                          </a:rPr>
                                          <m:t>𝑛</m:t>
                                        </m:r>
                                      </m:e>
                                      <m:sub>
                                        <m: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  <a:ea typeface="Times New Roman" panose="02020603050405020304" pitchFamily="18" charset="0"/>
                                            <a:cs typeface="Times New Roman" panose="02020603050405020304" pitchFamily="18" charset="0"/>
                                          </a:rPr>
                                          <m:t>с.к.</m:t>
                                        </m:r>
                                      </m:sub>
                                    </m:sSub>
                                  </m:num>
                                  <m:den>
                                    <m:sSub>
                                      <m:sSubPr>
                                        <m:ctrlP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  <a:ea typeface="Times New Roman" panose="02020603050405020304" pitchFamily="18" charset="0"/>
                                            <a:cs typeface="Times New Roman" panose="02020603050405020304" pitchFamily="18" charset="0"/>
                                          </a:rPr>
                                          <m:t>𝜑</m:t>
                                        </m:r>
                                      </m:e>
                                      <m:sub>
                                        <m: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  <a:ea typeface="Times New Roman" panose="02020603050405020304" pitchFamily="18" charset="0"/>
                                            <a:cs typeface="Times New Roman" panose="02020603050405020304" pitchFamily="18" charset="0"/>
                                          </a:rPr>
                                          <m:t>КИС</m:t>
                                        </m:r>
                                      </m:sub>
                                    </m:sSub>
                                  </m:den>
                                </m:f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97152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2.</a:t>
                          </a:r>
                          <a:r>
                            <a:rPr lang="ru-RU" baseline="0" dirty="0" smtClean="0"/>
                            <a:t> </a:t>
                          </a:r>
                          <a:r>
                            <a:rPr lang="ru-RU" dirty="0" smtClean="0"/>
                            <a:t>Определение коэффициента подобия для установки КИС НРД МБ.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ru-RU" sz="1800" i="1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800" i="1">
                                        <a:effectLst/>
                                        <a:latin typeface="Cambria Math" panose="02040503050406030204" pitchFamily="18" charset="0"/>
                                        <a:ea typeface="Times New Roman" panose="02020603050405020304" pitchFamily="18" charset="0"/>
                                        <a:cs typeface="Times New Roman" panose="02020603050405020304" pitchFamily="18" charset="0"/>
                                      </a:rPr>
                                      <m:t>𝐾</m:t>
                                    </m:r>
                                  </m:e>
                                  <m:sub>
                                    <m:r>
                                      <a:rPr lang="ru-RU" sz="1800" i="1">
                                        <a:effectLst/>
                                        <a:latin typeface="Cambria Math" panose="02040503050406030204" pitchFamily="18" charset="0"/>
                                        <a:ea typeface="Times New Roman" panose="02020603050405020304" pitchFamily="18" charset="0"/>
                                        <a:cs typeface="Times New Roman" panose="02020603050405020304" pitchFamily="18" charset="0"/>
                                      </a:rPr>
                                      <m:t>КИС</m:t>
                                    </m:r>
                                  </m:sub>
                                </m:sSub>
                                <m:r>
                                  <a:rPr lang="ru-RU" sz="1800" i="1">
                                    <a:effectLst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  <a:cs typeface="Times New Roman" panose="02020603050405020304" pitchFamily="18" charset="0"/>
                                  </a:rPr>
                                  <m:t>= </m:t>
                                </m:r>
                                <m:f>
                                  <m:fPr>
                                    <m:ctrlPr>
                                      <a:rPr lang="ru-RU" sz="18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sSub>
                                      <m:sSubPr>
                                        <m:ctrlP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  <a:ea typeface="Times New Roman" panose="02020603050405020304" pitchFamily="18" charset="0"/>
                                            <a:cs typeface="Times New Roman" panose="02020603050405020304" pitchFamily="18" charset="0"/>
                                          </a:rPr>
                                          <m:t>𝑛</m:t>
                                        </m:r>
                                      </m:e>
                                      <m:sub>
                                        <m: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  <a:ea typeface="Times New Roman" panose="02020603050405020304" pitchFamily="18" charset="0"/>
                                            <a:cs typeface="Times New Roman" panose="02020603050405020304" pitchFamily="18" charset="0"/>
                                          </a:rPr>
                                          <m:t>б.к. ИБН−8−7</m:t>
                                        </m:r>
                                      </m:sub>
                                    </m:sSub>
                                  </m:num>
                                  <m:den>
                                    <m:sSub>
                                      <m:sSubPr>
                                        <m:ctrlP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  <a:ea typeface="Times New Roman" panose="02020603050405020304" pitchFamily="18" charset="0"/>
                                            <a:cs typeface="Times New Roman" panose="02020603050405020304" pitchFamily="18" charset="0"/>
                                          </a:rPr>
                                          <m:t>𝑛</m:t>
                                        </m:r>
                                      </m:e>
                                      <m:sub>
                                        <m: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  <a:ea typeface="Times New Roman" panose="02020603050405020304" pitchFamily="18" charset="0"/>
                                            <a:cs typeface="Times New Roman" panose="02020603050405020304" pitchFamily="18" charset="0"/>
                                          </a:rPr>
                                          <m:t>б.к. ИБН−6</m:t>
                                        </m:r>
                                      </m:sub>
                                    </m:sSub>
                                  </m:den>
                                </m:f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63870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3.</a:t>
                          </a:r>
                          <a:r>
                            <a:rPr lang="ru-RU" baseline="0" dirty="0" smtClean="0"/>
                            <a:t> </a:t>
                          </a:r>
                          <a:r>
                            <a:rPr lang="ru-RU" dirty="0" smtClean="0"/>
                            <a:t>Определение коэффициента подобия для установки радиометрической нейтронной УРН-1.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ru-RU" sz="1800" i="1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en-US" sz="1800" i="1">
                                        <a:effectLst/>
                                        <a:latin typeface="Cambria Math" panose="02040503050406030204" pitchFamily="18" charset="0"/>
                                        <a:ea typeface="Times New Roman" panose="02020603050405020304" pitchFamily="18" charset="0"/>
                                        <a:cs typeface="Times New Roman" panose="02020603050405020304" pitchFamily="18" charset="0"/>
                                      </a:rPr>
                                      <m:t>𝐾</m:t>
                                    </m:r>
                                  </m:e>
                                  <m:sub>
                                    <m:r>
                                      <a:rPr lang="ru-RU" sz="1800" b="0" i="1" smtClean="0">
                                        <a:effectLst/>
                                        <a:latin typeface="Cambria Math" panose="02040503050406030204" pitchFamily="18" charset="0"/>
                                        <a:ea typeface="Times New Roman" panose="02020603050405020304" pitchFamily="18" charset="0"/>
                                        <a:cs typeface="Times New Roman" panose="02020603050405020304" pitchFamily="18" charset="0"/>
                                      </a:rPr>
                                      <m:t>УРН</m:t>
                                    </m:r>
                                  </m:sub>
                                </m:sSub>
                                <m:r>
                                  <a:rPr lang="ru-RU" sz="1800" i="1">
                                    <a:effectLst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  <a:cs typeface="Times New Roman" panose="02020603050405020304" pitchFamily="18" charset="0"/>
                                  </a:rPr>
                                  <m:t>= </m:t>
                                </m:r>
                                <m:f>
                                  <m:fPr>
                                    <m:ctrlPr>
                                      <a:rPr lang="ru-RU" sz="18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sSub>
                                      <m:sSubPr>
                                        <m:ctrlP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  <a:ea typeface="Times New Roman" panose="02020603050405020304" pitchFamily="18" charset="0"/>
                                            <a:cs typeface="Times New Roman" panose="02020603050405020304" pitchFamily="18" charset="0"/>
                                          </a:rPr>
                                          <m:t>𝑛</m:t>
                                        </m:r>
                                      </m:e>
                                      <m:sub>
                                        <m: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  <a:ea typeface="Times New Roman" panose="02020603050405020304" pitchFamily="18" charset="0"/>
                                            <a:cs typeface="Times New Roman" panose="02020603050405020304" pitchFamily="18" charset="0"/>
                                          </a:rPr>
                                          <m:t>б.к. ИБН−8−7</m:t>
                                        </m:r>
                                      </m:sub>
                                    </m:sSub>
                                  </m:num>
                                  <m:den>
                                    <m:sSub>
                                      <m:sSubPr>
                                        <m:ctrlP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  <a:ea typeface="Times New Roman" panose="02020603050405020304" pitchFamily="18" charset="0"/>
                                            <a:cs typeface="Times New Roman" panose="02020603050405020304" pitchFamily="18" charset="0"/>
                                          </a:rPr>
                                          <m:t>𝑛</m:t>
                                        </m:r>
                                      </m:e>
                                      <m:sub>
                                        <m: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  <a:ea typeface="Times New Roman" panose="02020603050405020304" pitchFamily="18" charset="0"/>
                                            <a:cs typeface="Times New Roman" panose="02020603050405020304" pitchFamily="18" charset="0"/>
                                          </a:rPr>
                                          <m:t>б.к. ИБН−6</m:t>
                                        </m:r>
                                      </m:sub>
                                    </m:sSub>
                                  </m:den>
                                </m:f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63870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4.</a:t>
                          </a:r>
                          <a:r>
                            <a:rPr lang="ru-RU" baseline="0" dirty="0" smtClean="0"/>
                            <a:t> </a:t>
                          </a:r>
                          <a:r>
                            <a:rPr lang="ru-RU" dirty="0" smtClean="0"/>
                            <a:t>Определение нижнего значения диапазона, в котором эталон хранит и передает значение величины (от ИБН-6 на КИС</a:t>
                          </a:r>
                          <a:r>
                            <a:rPr lang="ru-RU" baseline="0" dirty="0" smtClean="0"/>
                            <a:t> НРД МБ</a:t>
                          </a:r>
                          <a:r>
                            <a:rPr lang="ru-RU" dirty="0" smtClean="0"/>
                            <a:t>).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ru-RU" sz="1800" i="1" smtClean="0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sSubPr>
                                  <m:e>
                                    <m:r>
                                      <a:rPr lang="ru-RU" sz="1800" i="1">
                                        <a:effectLst/>
                                        <a:latin typeface="Cambria Math" panose="02040503050406030204" pitchFamily="18" charset="0"/>
                                        <a:ea typeface="Times New Roman" panose="02020603050405020304" pitchFamily="18" charset="0"/>
                                        <a:cs typeface="Times New Roman" panose="02020603050405020304" pitchFamily="18" charset="0"/>
                                      </a:rPr>
                                      <m:t>𝜑</m:t>
                                    </m:r>
                                  </m:e>
                                  <m:sub>
                                    <m:r>
                                      <a:rPr lang="ru-RU" sz="1800" i="1">
                                        <a:effectLst/>
                                        <a:latin typeface="Cambria Math" panose="02040503050406030204" pitchFamily="18" charset="0"/>
                                        <a:ea typeface="Times New Roman" panose="02020603050405020304" pitchFamily="18" charset="0"/>
                                        <a:cs typeface="Times New Roman" panose="02020603050405020304" pitchFamily="18" charset="0"/>
                                      </a:rPr>
                                      <m:t>нижн.</m:t>
                                    </m:r>
                                  </m:sub>
                                </m:sSub>
                                <m:r>
                                  <a:rPr lang="ru-RU" sz="1800" i="1">
                                    <a:effectLst/>
                                    <a:latin typeface="Cambria Math" panose="02040503050406030204" pitchFamily="18" charset="0"/>
                                    <a:ea typeface="Times New Roman" panose="02020603050405020304" pitchFamily="18" charset="0"/>
                                    <a:cs typeface="Times New Roman" panose="02020603050405020304" pitchFamily="18" charset="0"/>
                                  </a:rPr>
                                  <m:t>= </m:t>
                                </m:r>
                                <m:f>
                                  <m:fPr>
                                    <m:ctrlPr>
                                      <a:rPr lang="ru-RU" sz="1800" i="1">
                                        <a:effectLst/>
                                        <a:latin typeface="Cambria Math" panose="02040503050406030204" pitchFamily="18" charset="0"/>
                                      </a:rPr>
                                    </m:ctrlPr>
                                  </m:fPr>
                                  <m:num>
                                    <m:sSub>
                                      <m:sSubPr>
                                        <m:ctrlP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  <a:ea typeface="Times New Roman" panose="02020603050405020304" pitchFamily="18" charset="0"/>
                                            <a:cs typeface="Times New Roman" panose="02020603050405020304" pitchFamily="18" charset="0"/>
                                          </a:rPr>
                                          <m:t>𝑛</m:t>
                                        </m:r>
                                      </m:e>
                                      <m:sub>
                                        <m: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  <a:ea typeface="Times New Roman" panose="02020603050405020304" pitchFamily="18" charset="0"/>
                                            <a:cs typeface="Times New Roman" panose="02020603050405020304" pitchFamily="18" charset="0"/>
                                          </a:rPr>
                                          <m:t>б.к.</m:t>
                                        </m:r>
                                      </m:sub>
                                    </m:sSub>
                                    <m:r>
                                      <a:rPr lang="ru-RU" sz="1800" i="1">
                                        <a:effectLst/>
                                        <a:latin typeface="Cambria Math" panose="02040503050406030204" pitchFamily="18" charset="0"/>
                                        <a:ea typeface="Times New Roman" panose="02020603050405020304" pitchFamily="18" charset="0"/>
                                        <a:cs typeface="Times New Roman" panose="02020603050405020304" pitchFamily="18" charset="0"/>
                                      </a:rPr>
                                      <m:t>−</m:t>
                                    </m:r>
                                    <m:sSub>
                                      <m:sSubPr>
                                        <m:ctrlP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  <a:ea typeface="Times New Roman" panose="02020603050405020304" pitchFamily="18" charset="0"/>
                                            <a:cs typeface="Times New Roman" panose="02020603050405020304" pitchFamily="18" charset="0"/>
                                          </a:rPr>
                                          <m:t>𝑛</m:t>
                                        </m:r>
                                      </m:e>
                                      <m:sub>
                                        <m: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  <a:ea typeface="Times New Roman" panose="02020603050405020304" pitchFamily="18" charset="0"/>
                                            <a:cs typeface="Times New Roman" panose="02020603050405020304" pitchFamily="18" charset="0"/>
                                          </a:rPr>
                                          <m:t>с.к.</m:t>
                                        </m:r>
                                      </m:sub>
                                    </m:sSub>
                                  </m:num>
                                  <m:den>
                                    <m:sSub>
                                      <m:sSubPr>
                                        <m:ctrlP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800" i="1">
                                            <a:effectLst/>
                                            <a:latin typeface="Cambria Math" panose="02040503050406030204" pitchFamily="18" charset="0"/>
                                            <a:ea typeface="Times New Roman" panose="02020603050405020304" pitchFamily="18" charset="0"/>
                                            <a:cs typeface="Times New Roman" panose="02020603050405020304" pitchFamily="18" charset="0"/>
                                          </a:rPr>
                                          <m:t>𝑆</m:t>
                                        </m:r>
                                      </m:e>
                                      <m:sub>
                                        <m:r>
                                          <a:rPr lang="ru-RU" sz="1800" i="1">
                                            <a:effectLst/>
                                            <a:latin typeface="Cambria Math" panose="02040503050406030204" pitchFamily="18" charset="0"/>
                                            <a:ea typeface="Times New Roman" panose="02020603050405020304" pitchFamily="18" charset="0"/>
                                            <a:cs typeface="Times New Roman" panose="02020603050405020304" pitchFamily="18" charset="0"/>
                                          </a:rPr>
                                          <m:t>БД КИС</m:t>
                                        </m:r>
                                      </m:sub>
                                    </m:sSub>
                                  </m:den>
                                </m:f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414229092"/>
                  </p:ext>
                </p:extLst>
              </p:nvPr>
            </p:nvGraphicFramePr>
            <p:xfrm>
              <a:off x="288891" y="845938"/>
              <a:ext cx="8387565" cy="4263360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4536504"/>
                    <a:gridCol w="3851061"/>
                  </a:tblGrid>
                  <a:tr h="118872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1.</a:t>
                          </a:r>
                          <a:r>
                            <a:rPr lang="ru-RU" baseline="0" dirty="0" smtClean="0"/>
                            <a:t> </a:t>
                          </a:r>
                          <a:r>
                            <a:rPr lang="ru-RU" dirty="0" smtClean="0"/>
                            <a:t>Определение чувствительности блока детектирования БДПН-43Р к тепловым нейтронам с применением установки КИС НРД МБ.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118038" t="-2564" r="-316" b="-267179"/>
                          </a:stretch>
                        </a:blipFill>
                      </a:tcPr>
                    </a:tc>
                  </a:tr>
                  <a:tr h="97152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2.</a:t>
                          </a:r>
                          <a:r>
                            <a:rPr lang="ru-RU" baseline="0" dirty="0" smtClean="0"/>
                            <a:t> </a:t>
                          </a:r>
                          <a:r>
                            <a:rPr lang="ru-RU" dirty="0" smtClean="0"/>
                            <a:t>Определение коэффициента подобия для установки КИС НРД МБ.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118038" t="-125000" r="-316" b="-225625"/>
                          </a:stretch>
                        </a:blipFill>
                      </a:tcPr>
                    </a:tc>
                  </a:tr>
                  <a:tr h="91440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3.</a:t>
                          </a:r>
                          <a:r>
                            <a:rPr lang="ru-RU" baseline="0" dirty="0" smtClean="0"/>
                            <a:t> </a:t>
                          </a:r>
                          <a:r>
                            <a:rPr lang="ru-RU" dirty="0" smtClean="0"/>
                            <a:t>Определение коэффициента подобия для установки радиометрической нейтронной УРН-1.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118038" t="-238411" r="-316" b="-139073"/>
                          </a:stretch>
                        </a:blipFill>
                      </a:tcPr>
                    </a:tc>
                  </a:tr>
                  <a:tr h="118872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4.</a:t>
                          </a:r>
                          <a:r>
                            <a:rPr lang="ru-RU" baseline="0" dirty="0" smtClean="0"/>
                            <a:t> </a:t>
                          </a:r>
                          <a:r>
                            <a:rPr lang="ru-RU" dirty="0" smtClean="0"/>
                            <a:t>Определение </a:t>
                          </a:r>
                          <a:r>
                            <a:rPr lang="ru-RU" dirty="0" smtClean="0"/>
                            <a:t>нижнего значения диапазона, </a:t>
                          </a:r>
                          <a:r>
                            <a:rPr lang="ru-RU" dirty="0" smtClean="0"/>
                            <a:t>в котором эталон хранит и передает значение </a:t>
                          </a:r>
                          <a:r>
                            <a:rPr lang="ru-RU" dirty="0" smtClean="0"/>
                            <a:t>величины (от ИБН-6 на КИС</a:t>
                          </a:r>
                          <a:r>
                            <a:rPr lang="ru-RU" baseline="0" dirty="0" smtClean="0"/>
                            <a:t> НРД МБ</a:t>
                          </a:r>
                          <a:r>
                            <a:rPr lang="ru-RU" dirty="0" smtClean="0"/>
                            <a:t>).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118038" t="-262051" r="-316" b="-7692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2684480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Заголовок 1"/>
          <p:cNvSpPr txBox="1">
            <a:spLocks/>
          </p:cNvSpPr>
          <p:nvPr/>
        </p:nvSpPr>
        <p:spPr>
          <a:xfrm>
            <a:off x="288891" y="38703"/>
            <a:ext cx="7019413" cy="447196"/>
          </a:xfrm>
          <a:prstGeom prst="rect">
            <a:avLst/>
          </a:prstGeom>
        </p:spPr>
        <p:txBody>
          <a:bodyPr vert="horz" lIns="144000" tIns="49709" rIns="99417" bIns="49709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b="1" dirty="0" smtClean="0">
                <a:solidFill>
                  <a:srgbClr val="333333"/>
                </a:solidFill>
                <a:latin typeface="Arial" charset="0"/>
                <a:ea typeface="Arial" charset="0"/>
                <a:cs typeface="Arial" charset="0"/>
              </a:rPr>
              <a:t>Основные операции аттестации эталона</a:t>
            </a:r>
            <a:endParaRPr lang="ru-RU" b="1" dirty="0">
              <a:solidFill>
                <a:srgbClr val="333333"/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7315" y="319146"/>
            <a:ext cx="1296143" cy="409268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636617440"/>
                  </p:ext>
                </p:extLst>
              </p:nvPr>
            </p:nvGraphicFramePr>
            <p:xfrm>
              <a:off x="288891" y="989955"/>
              <a:ext cx="8387565" cy="3456944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4536504"/>
                    <a:gridCol w="3851061"/>
                  </a:tblGrid>
                  <a:tr h="1152128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5. Определение верхнего значения диапазона, в котором эталон хранит и передает значение величины (от ИБН-8-7 в УРН)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ru-RU" sz="1800" i="1" kern="1200" smtClean="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ea typeface="+mn-ea"/>
                                        <a:cs typeface="+mn-cs"/>
                                      </a:rPr>
                                    </m:ctrlPr>
                                  </m:sSubPr>
                                  <m:e>
                                    <m:r>
                                      <a:rPr lang="ru-RU" sz="1800" i="1" kern="120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ea typeface="+mn-ea"/>
                                        <a:cs typeface="+mn-cs"/>
                                      </a:rPr>
                                      <m:t>𝜑</m:t>
                                    </m:r>
                                  </m:e>
                                  <m:sub>
                                    <m:r>
                                      <a:rPr lang="ru-RU" sz="1800" i="1" kern="120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ea typeface="+mn-ea"/>
                                        <a:cs typeface="+mn-cs"/>
                                      </a:rPr>
                                      <m:t>верхн.</m:t>
                                    </m:r>
                                  </m:sub>
                                </m:sSub>
                                <m:r>
                                  <a:rPr lang="ru-RU" sz="1800" i="1" kern="1200">
                                    <a:solidFill>
                                      <a:schemeClr val="tx1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+mn-ea"/>
                                    <a:cs typeface="+mn-cs"/>
                                  </a:rPr>
                                  <m:t>=</m:t>
                                </m:r>
                                <m:f>
                                  <m:fPr>
                                    <m:ctrlPr>
                                      <a:rPr lang="ru-RU" sz="1800" i="1" kern="120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ea typeface="+mn-ea"/>
                                        <a:cs typeface="+mn-cs"/>
                                      </a:rPr>
                                    </m:ctrlPr>
                                  </m:fPr>
                                  <m:num>
                                    <m:sSub>
                                      <m:sSubPr>
                                        <m:ctrlPr>
                                          <a:rPr lang="ru-RU" sz="1800" i="1" kern="1200">
                                            <a:solidFill>
                                              <a:schemeClr val="tx1"/>
                                            </a:solidFill>
                                            <a:effectLst/>
                                            <a:latin typeface="Cambria Math" panose="02040503050406030204" pitchFamily="18" charset="0"/>
                                            <a:ea typeface="+mn-ea"/>
                                            <a:cs typeface="+mn-cs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ru-RU" sz="1800" i="1" kern="1200">
                                            <a:solidFill>
                                              <a:schemeClr val="tx1"/>
                                            </a:solidFill>
                                            <a:effectLst/>
                                            <a:latin typeface="Cambria Math" panose="02040503050406030204" pitchFamily="18" charset="0"/>
                                            <a:ea typeface="+mn-ea"/>
                                            <a:cs typeface="+mn-cs"/>
                                          </a:rPr>
                                          <m:t>𝑛</m:t>
                                        </m:r>
                                      </m:e>
                                      <m:sub>
                                        <m:r>
                                          <a:rPr lang="ru-RU" sz="1800" i="1" kern="1200">
                                            <a:solidFill>
                                              <a:schemeClr val="tx1"/>
                                            </a:solidFill>
                                            <a:effectLst/>
                                            <a:latin typeface="Cambria Math" panose="02040503050406030204" pitchFamily="18" charset="0"/>
                                            <a:ea typeface="+mn-ea"/>
                                            <a:cs typeface="+mn-cs"/>
                                          </a:rPr>
                                          <m:t>б.к. ИБН−8−7 УРН</m:t>
                                        </m:r>
                                      </m:sub>
                                    </m:sSub>
                                  </m:num>
                                  <m:den>
                                    <m:sSub>
                                      <m:sSubPr>
                                        <m:ctrlPr>
                                          <a:rPr lang="ru-RU" sz="1800" i="1" kern="1200">
                                            <a:solidFill>
                                              <a:schemeClr val="tx1"/>
                                            </a:solidFill>
                                            <a:effectLst/>
                                            <a:latin typeface="Cambria Math" panose="02040503050406030204" pitchFamily="18" charset="0"/>
                                            <a:ea typeface="+mn-ea"/>
                                            <a:cs typeface="+mn-cs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800" i="1" kern="1200">
                                            <a:solidFill>
                                              <a:schemeClr val="tx1"/>
                                            </a:solidFill>
                                            <a:effectLst/>
                                            <a:latin typeface="Cambria Math" panose="02040503050406030204" pitchFamily="18" charset="0"/>
                                            <a:ea typeface="+mn-ea"/>
                                            <a:cs typeface="+mn-cs"/>
                                          </a:rPr>
                                          <m:t>𝑆</m:t>
                                        </m:r>
                                      </m:e>
                                      <m:sub>
                                        <m:r>
                                          <a:rPr lang="ru-RU" sz="1800" i="1" kern="1200">
                                            <a:solidFill>
                                              <a:schemeClr val="tx1"/>
                                            </a:solidFill>
                                            <a:effectLst/>
                                            <a:latin typeface="Cambria Math" panose="02040503050406030204" pitchFamily="18" charset="0"/>
                                            <a:ea typeface="+mn-ea"/>
                                            <a:cs typeface="+mn-cs"/>
                                          </a:rPr>
                                          <m:t>БД КИС</m:t>
                                        </m:r>
                                      </m:sub>
                                    </m:sSub>
                                  </m:den>
                                </m:f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755496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6</a:t>
                          </a:r>
                          <a:r>
                            <a:rPr lang="ru-RU" dirty="0" smtClean="0"/>
                            <a:t>.</a:t>
                          </a:r>
                          <a:r>
                            <a:rPr lang="ru-RU" baseline="0" dirty="0" smtClean="0"/>
                            <a:t> </a:t>
                          </a:r>
                          <a:r>
                            <a:rPr lang="ru-RU" sz="1800" kern="1200" dirty="0" smtClean="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Проверка доверительных границ погрешности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sSub>
                                  <m:sSubPr>
                                    <m:ctrlPr>
                                      <a:rPr lang="ru-RU" sz="1800" i="1" kern="1200" smtClean="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ea typeface="+mn-ea"/>
                                        <a:cs typeface="+mn-cs"/>
                                      </a:rPr>
                                    </m:ctrlPr>
                                  </m:sSubPr>
                                  <m:e>
                                    <m:r>
                                      <a:rPr lang="ru-RU" sz="1800" i="1" kern="120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ea typeface="+mn-ea"/>
                                        <a:cs typeface="+mn-cs"/>
                                      </a:rPr>
                                      <m:t>𝛿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ru-RU" sz="1800" i="1" kern="1200">
                                            <a:solidFill>
                                              <a:schemeClr val="tx1"/>
                                            </a:solidFill>
                                            <a:effectLst/>
                                            <a:latin typeface="Cambria Math" panose="02040503050406030204" pitchFamily="18" charset="0"/>
                                            <a:ea typeface="+mn-ea"/>
                                            <a:cs typeface="+mn-cs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800" i="1" kern="1200">
                                            <a:solidFill>
                                              <a:schemeClr val="tx1"/>
                                            </a:solidFill>
                                            <a:effectLst/>
                                            <a:latin typeface="Cambria Math" panose="02040503050406030204" pitchFamily="18" charset="0"/>
                                            <a:ea typeface="+mn-ea"/>
                                            <a:cs typeface="+mn-cs"/>
                                          </a:rPr>
                                          <m:t>𝑆</m:t>
                                        </m:r>
                                      </m:e>
                                      <m:sub>
                                        <m:r>
                                          <a:rPr lang="ru-RU" sz="1800" i="1" kern="1200">
                                            <a:solidFill>
                                              <a:schemeClr val="tx1"/>
                                            </a:solidFill>
                                            <a:effectLst/>
                                            <a:latin typeface="Cambria Math" panose="02040503050406030204" pitchFamily="18" charset="0"/>
                                            <a:ea typeface="+mn-ea"/>
                                            <a:cs typeface="+mn-cs"/>
                                          </a:rPr>
                                          <m:t>БД КИС</m:t>
                                        </m:r>
                                      </m:sub>
                                    </m:sSub>
                                  </m:sub>
                                </m:sSub>
                                <m:r>
                                  <a:rPr lang="ru-RU" sz="1800" i="1" kern="1200">
                                    <a:solidFill>
                                      <a:schemeClr val="tx1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+mn-ea"/>
                                    <a:cs typeface="+mn-cs"/>
                                  </a:rPr>
                                  <m:t>+</m:t>
                                </m:r>
                                <m:sSub>
                                  <m:sSubPr>
                                    <m:ctrlPr>
                                      <a:rPr lang="ru-RU" sz="1800" i="1" kern="120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ea typeface="+mn-ea"/>
                                        <a:cs typeface="+mn-cs"/>
                                      </a:rPr>
                                    </m:ctrlPr>
                                  </m:sSubPr>
                                  <m:e>
                                    <m:r>
                                      <a:rPr lang="ru-RU" sz="1800" i="1" kern="120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ea typeface="+mn-ea"/>
                                        <a:cs typeface="+mn-cs"/>
                                      </a:rPr>
                                      <m:t>𝛿</m:t>
                                    </m:r>
                                  </m:e>
                                  <m:sub>
                                    <m:sSub>
                                      <m:sSubPr>
                                        <m:ctrlPr>
                                          <a:rPr lang="ru-RU" sz="1800" i="1" kern="1200">
                                            <a:solidFill>
                                              <a:schemeClr val="tx1"/>
                                            </a:solidFill>
                                            <a:effectLst/>
                                            <a:latin typeface="Cambria Math" panose="02040503050406030204" pitchFamily="18" charset="0"/>
                                            <a:ea typeface="+mn-ea"/>
                                            <a:cs typeface="+mn-cs"/>
                                          </a:rPr>
                                        </m:ctrlPr>
                                      </m:sSubPr>
                                      <m:e>
                                        <m:r>
                                          <a:rPr lang="en-US" sz="1800" i="1" kern="1200">
                                            <a:solidFill>
                                              <a:schemeClr val="tx1"/>
                                            </a:solidFill>
                                            <a:effectLst/>
                                            <a:latin typeface="Cambria Math" panose="02040503050406030204" pitchFamily="18" charset="0"/>
                                            <a:ea typeface="+mn-ea"/>
                                            <a:cs typeface="+mn-cs"/>
                                          </a:rPr>
                                          <m:t>𝐾</m:t>
                                        </m:r>
                                      </m:e>
                                      <m:sub>
                                        <m:r>
                                          <a:rPr lang="ru-RU" sz="1800" i="1" kern="1200">
                                            <a:solidFill>
                                              <a:schemeClr val="tx1"/>
                                            </a:solidFill>
                                            <a:effectLst/>
                                            <a:latin typeface="Cambria Math" panose="02040503050406030204" pitchFamily="18" charset="0"/>
                                            <a:ea typeface="+mn-ea"/>
                                            <a:cs typeface="+mn-cs"/>
                                          </a:rPr>
                                          <m:t>УРН</m:t>
                                        </m:r>
                                      </m:sub>
                                    </m:sSub>
                                  </m:sub>
                                </m:sSub>
                                <m:r>
                                  <a:rPr lang="ru-RU" sz="1800" i="1" kern="1200">
                                    <a:solidFill>
                                      <a:schemeClr val="tx1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+mn-ea"/>
                                    <a:cs typeface="+mn-cs"/>
                                  </a:rPr>
                                  <m:t>&lt;0,08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74834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7. Проверка линейности БД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begChr m:val="|"/>
                                    <m:endChr m:val="|"/>
                                    <m:ctrlPr>
                                      <a:rPr lang="ru-RU" sz="1800" i="1" kern="1200" smtClean="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ea typeface="+mn-ea"/>
                                        <a:cs typeface="+mn-cs"/>
                                      </a:rPr>
                                    </m:ctrlPr>
                                  </m:dPr>
                                  <m:e>
                                    <m:f>
                                      <m:fPr>
                                        <m:ctrlPr>
                                          <a:rPr lang="ru-RU" sz="1800" i="1" kern="1200">
                                            <a:solidFill>
                                              <a:schemeClr val="tx1"/>
                                            </a:solidFill>
                                            <a:effectLst/>
                                            <a:latin typeface="Cambria Math" panose="02040503050406030204" pitchFamily="18" charset="0"/>
                                            <a:ea typeface="+mn-ea"/>
                                            <a:cs typeface="+mn-cs"/>
                                          </a:rPr>
                                        </m:ctrlPr>
                                      </m:fPr>
                                      <m:num>
                                        <m:sSub>
                                          <m:sSubPr>
                                            <m:ctrlPr>
                                              <a:rPr lang="ru-RU" sz="1800" i="1" kern="12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  <a:ea typeface="+mn-ea"/>
                                                <a:cs typeface="+mn-cs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sz="1800" i="1" kern="12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  <a:ea typeface="+mn-ea"/>
                                                <a:cs typeface="+mn-cs"/>
                                              </a:rPr>
                                              <m:t>𝐾</m:t>
                                            </m:r>
                                          </m:e>
                                          <m:sub>
                                            <m:r>
                                              <a:rPr lang="ru-RU" sz="1800" i="1" kern="12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  <a:ea typeface="+mn-ea"/>
                                                <a:cs typeface="+mn-cs"/>
                                              </a:rPr>
                                              <m:t>КИС</m:t>
                                            </m:r>
                                          </m:sub>
                                        </m:sSub>
                                        <m:r>
                                          <a:rPr lang="ru-RU" sz="1800" i="1" kern="1200">
                                            <a:solidFill>
                                              <a:schemeClr val="tx1"/>
                                            </a:solidFill>
                                            <a:effectLst/>
                                            <a:latin typeface="Cambria Math" panose="02040503050406030204" pitchFamily="18" charset="0"/>
                                            <a:ea typeface="+mn-ea"/>
                                            <a:cs typeface="+mn-cs"/>
                                          </a:rPr>
                                          <m:t>−</m:t>
                                        </m:r>
                                        <m:sSub>
                                          <m:sSubPr>
                                            <m:ctrlPr>
                                              <a:rPr lang="ru-RU" sz="1800" i="1" kern="12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  <a:ea typeface="+mn-ea"/>
                                                <a:cs typeface="+mn-cs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sz="1800" i="1" kern="12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  <a:ea typeface="+mn-ea"/>
                                                <a:cs typeface="+mn-cs"/>
                                              </a:rPr>
                                              <m:t>𝐾</m:t>
                                            </m:r>
                                          </m:e>
                                          <m:sub>
                                            <m:r>
                                              <a:rPr lang="ru-RU" sz="1800" i="1" kern="12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  <a:ea typeface="+mn-ea"/>
                                                <a:cs typeface="+mn-cs"/>
                                              </a:rPr>
                                              <m:t>УРН</m:t>
                                            </m:r>
                                          </m:sub>
                                        </m:sSub>
                                      </m:num>
                                      <m:den>
                                        <m:sSub>
                                          <m:sSubPr>
                                            <m:ctrlPr>
                                              <a:rPr lang="ru-RU" sz="1800" i="1" kern="12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  <a:ea typeface="+mn-ea"/>
                                                <a:cs typeface="+mn-cs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en-US" sz="1800" i="1" kern="12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  <a:ea typeface="+mn-ea"/>
                                                <a:cs typeface="+mn-cs"/>
                                              </a:rPr>
                                              <m:t>𝐾</m:t>
                                            </m:r>
                                          </m:e>
                                          <m:sub>
                                            <m:r>
                                              <a:rPr lang="ru-RU" sz="1800" i="1" kern="12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  <a:ea typeface="+mn-ea"/>
                                                <a:cs typeface="+mn-cs"/>
                                              </a:rPr>
                                              <m:t>КИС</m:t>
                                            </m:r>
                                          </m:sub>
                                        </m:sSub>
                                      </m:den>
                                    </m:f>
                                  </m:e>
                                </m:d>
                                <m:r>
                                  <a:rPr lang="ru-RU" sz="1800" i="1" kern="1200">
                                    <a:solidFill>
                                      <a:schemeClr val="tx1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+mn-ea"/>
                                    <a:cs typeface="+mn-cs"/>
                                  </a:rPr>
                                  <m:t> &lt;0,04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  <a:tr h="764388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8. </a:t>
                          </a:r>
                          <a:r>
                            <a:rPr lang="ru-RU" sz="1800" kern="1200" dirty="0" smtClean="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Проверка нижней границы диапазона измерений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pPr/>
                          <a14:m>
                            <m:oMathPara xmlns:m="http://schemas.openxmlformats.org/officeDocument/2006/math">
                              <m:oMathParaPr>
                                <m:jc m:val="centerGroup"/>
                              </m:oMathParaPr>
                              <m:oMath xmlns:m="http://schemas.openxmlformats.org/officeDocument/2006/math">
                                <m:d>
                                  <m:dPr>
                                    <m:begChr m:val="|"/>
                                    <m:endChr m:val="|"/>
                                    <m:ctrlPr>
                                      <a:rPr lang="ru-RU" sz="1800" i="1" kern="1200" smtClean="0">
                                        <a:solidFill>
                                          <a:schemeClr val="tx1"/>
                                        </a:solidFill>
                                        <a:effectLst/>
                                        <a:latin typeface="Cambria Math" panose="02040503050406030204" pitchFamily="18" charset="0"/>
                                        <a:ea typeface="+mn-ea"/>
                                        <a:cs typeface="+mn-cs"/>
                                      </a:rPr>
                                    </m:ctrlPr>
                                  </m:dPr>
                                  <m:e>
                                    <m:f>
                                      <m:fPr>
                                        <m:ctrlPr>
                                          <a:rPr lang="ru-RU" sz="1800" i="1" kern="1200">
                                            <a:solidFill>
                                              <a:schemeClr val="tx1"/>
                                            </a:solidFill>
                                            <a:effectLst/>
                                            <a:latin typeface="Cambria Math" panose="02040503050406030204" pitchFamily="18" charset="0"/>
                                            <a:ea typeface="+mn-ea"/>
                                            <a:cs typeface="+mn-cs"/>
                                          </a:rPr>
                                        </m:ctrlPr>
                                      </m:fPr>
                                      <m:num>
                                        <m:sSub>
                                          <m:sSubPr>
                                            <m:ctrlPr>
                                              <a:rPr lang="ru-RU" sz="1800" i="1" kern="12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  <a:ea typeface="+mn-ea"/>
                                                <a:cs typeface="+mn-cs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ru-RU" sz="1800" i="1" kern="12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  <a:ea typeface="+mn-ea"/>
                                                <a:cs typeface="+mn-cs"/>
                                              </a:rPr>
                                              <m:t>𝜑</m:t>
                                            </m:r>
                                          </m:e>
                                          <m:sub>
                                            <m:r>
                                              <a:rPr lang="ru-RU" sz="1800" i="1" kern="12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  <a:ea typeface="+mn-ea"/>
                                                <a:cs typeface="+mn-cs"/>
                                              </a:rPr>
                                              <m:t>БД</m:t>
                                            </m:r>
                                          </m:sub>
                                        </m:sSub>
                                        <m:r>
                                          <a:rPr lang="ru-RU" sz="1800" i="1" kern="1200">
                                            <a:solidFill>
                                              <a:schemeClr val="tx1"/>
                                            </a:solidFill>
                                            <a:effectLst/>
                                            <a:latin typeface="Cambria Math" panose="02040503050406030204" pitchFamily="18" charset="0"/>
                                            <a:ea typeface="+mn-ea"/>
                                            <a:cs typeface="+mn-cs"/>
                                          </a:rPr>
                                          <m:t>−</m:t>
                                        </m:r>
                                        <m:sSub>
                                          <m:sSubPr>
                                            <m:ctrlPr>
                                              <a:rPr lang="ru-RU" sz="1800" i="1" kern="12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  <a:ea typeface="+mn-ea"/>
                                                <a:cs typeface="+mn-cs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ru-RU" sz="1800" i="1" kern="12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  <a:ea typeface="+mn-ea"/>
                                                <a:cs typeface="+mn-cs"/>
                                              </a:rPr>
                                              <m:t>𝜑</m:t>
                                            </m:r>
                                          </m:e>
                                          <m:sub>
                                            <m:r>
                                              <a:rPr lang="ru-RU" sz="1800" i="1" kern="12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  <a:ea typeface="+mn-ea"/>
                                                <a:cs typeface="+mn-cs"/>
                                              </a:rPr>
                                              <m:t>КИС</m:t>
                                            </m:r>
                                          </m:sub>
                                        </m:sSub>
                                      </m:num>
                                      <m:den>
                                        <m:sSub>
                                          <m:sSubPr>
                                            <m:ctrlPr>
                                              <a:rPr lang="ru-RU" sz="1800" i="1" kern="12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  <a:ea typeface="+mn-ea"/>
                                                <a:cs typeface="+mn-cs"/>
                                              </a:rPr>
                                            </m:ctrlPr>
                                          </m:sSubPr>
                                          <m:e>
                                            <m:r>
                                              <a:rPr lang="ru-RU" sz="1800" i="1" kern="12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  <a:ea typeface="+mn-ea"/>
                                                <a:cs typeface="+mn-cs"/>
                                              </a:rPr>
                                              <m:t>𝜑</m:t>
                                            </m:r>
                                          </m:e>
                                          <m:sub>
                                            <m:r>
                                              <a:rPr lang="ru-RU" sz="1800" i="1" kern="1200">
                                                <a:solidFill>
                                                  <a:schemeClr val="tx1"/>
                                                </a:solidFill>
                                                <a:effectLst/>
                                                <a:latin typeface="Cambria Math" panose="02040503050406030204" pitchFamily="18" charset="0"/>
                                                <a:ea typeface="+mn-ea"/>
                                                <a:cs typeface="+mn-cs"/>
                                              </a:rPr>
                                              <m:t>КИС</m:t>
                                            </m:r>
                                          </m:sub>
                                        </m:sSub>
                                      </m:den>
                                    </m:f>
                                  </m:e>
                                </m:d>
                                <m:r>
                                  <a:rPr lang="ru-RU" sz="1800" i="1" kern="1200">
                                    <a:solidFill>
                                      <a:schemeClr val="tx1"/>
                                    </a:solidFill>
                                    <a:effectLst/>
                                    <a:latin typeface="Cambria Math" panose="02040503050406030204" pitchFamily="18" charset="0"/>
                                    <a:ea typeface="+mn-ea"/>
                                    <a:cs typeface="+mn-cs"/>
                                  </a:rPr>
                                  <m:t> &lt;0,04</m:t>
                                </m:r>
                              </m:oMath>
                            </m:oMathPara>
                          </a14:m>
                          <a:endParaRPr lang="ru-RU" dirty="0"/>
                        </a:p>
                      </a:txBody>
                      <a:tcPr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tcPr>
                    </a:tc>
                  </a:tr>
                </a:tbl>
              </a:graphicData>
            </a:graphic>
          </p:graphicFrame>
        </mc:Choice>
        <mc:Fallback xmlns="">
          <p:graphicFrame>
            <p:nvGraphicFramePr>
              <p:cNvPr id="4" name="Таблица 3"/>
              <p:cNvGraphicFramePr>
                <a:graphicFrameLocks noGrp="1"/>
              </p:cNvGraphicFramePr>
              <p:nvPr>
                <p:extLst>
                  <p:ext uri="{D42A27DB-BD31-4B8C-83A1-F6EECF244321}">
                    <p14:modId xmlns:p14="http://schemas.microsoft.com/office/powerpoint/2010/main" val="1636617440"/>
                  </p:ext>
                </p:extLst>
              </p:nvPr>
            </p:nvGraphicFramePr>
            <p:xfrm>
              <a:off x="288891" y="989955"/>
              <a:ext cx="8387565" cy="3456944"/>
            </p:xfrm>
            <a:graphic>
              <a:graphicData uri="http://schemas.openxmlformats.org/drawingml/2006/table">
                <a:tbl>
                  <a:tblPr firstRow="1" bandRow="1">
                    <a:tableStyleId>{5940675A-B579-460E-94D1-54222C63F5DA}</a:tableStyleId>
                  </a:tblPr>
                  <a:tblGrid>
                    <a:gridCol w="4536504"/>
                    <a:gridCol w="3851061"/>
                  </a:tblGrid>
                  <a:tr h="118872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5. Определение верхнего значения диапазона, в котором эталон хранит и передает значение величины (от ИБН-8-7 в УРН)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118038" t="-2564" r="-316" b="-192308"/>
                          </a:stretch>
                        </a:blipFill>
                      </a:tcPr>
                    </a:tc>
                  </a:tr>
                  <a:tr h="755496">
                    <a:tc>
                      <a:txBody>
                        <a:bodyPr/>
                        <a:lstStyle/>
                        <a:p>
                          <a:r>
                            <a:rPr lang="en-US" dirty="0" smtClean="0"/>
                            <a:t>6</a:t>
                          </a:r>
                          <a:r>
                            <a:rPr lang="ru-RU" dirty="0" smtClean="0"/>
                            <a:t>.</a:t>
                          </a:r>
                          <a:r>
                            <a:rPr lang="ru-RU" baseline="0" dirty="0" smtClean="0"/>
                            <a:t> </a:t>
                          </a:r>
                          <a:r>
                            <a:rPr lang="ru-RU" sz="1800" kern="1200" dirty="0" smtClean="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Проверка доверительных границ погрешности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118038" t="-161290" r="-316" b="-202419"/>
                          </a:stretch>
                        </a:blipFill>
                      </a:tcPr>
                    </a:tc>
                  </a:tr>
                  <a:tr h="748340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7. Проверка линейности БД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118038" t="-263415" r="-316" b="-104065"/>
                          </a:stretch>
                        </a:blipFill>
                      </a:tcPr>
                    </a:tc>
                  </a:tr>
                  <a:tr h="764388">
                    <a:tc>
                      <a:txBody>
                        <a:bodyPr/>
                        <a:lstStyle/>
                        <a:p>
                          <a:r>
                            <a:rPr lang="ru-RU" dirty="0" smtClean="0"/>
                            <a:t>8. </a:t>
                          </a:r>
                          <a:r>
                            <a:rPr lang="ru-RU" sz="1800" kern="1200" dirty="0" smtClean="0">
                              <a:solidFill>
                                <a:schemeClr val="tx1"/>
                              </a:solidFill>
                              <a:effectLst/>
                              <a:latin typeface="+mn-lt"/>
                              <a:ea typeface="+mn-ea"/>
                              <a:cs typeface="+mn-cs"/>
                            </a:rPr>
                            <a:t>Проверка нижней границы диапазона измерений</a:t>
                          </a:r>
                          <a:endParaRPr lang="ru-RU" dirty="0"/>
                        </a:p>
                      </a:txBody>
                      <a:tcPr>
                        <a:solidFill>
                          <a:schemeClr val="accent1">
                            <a:lumMod val="20000"/>
                            <a:lumOff val="80000"/>
                          </a:schemeClr>
                        </a:solidFill>
                      </a:tcPr>
                    </a:tc>
                    <a:tc>
                      <a:txBody>
                        <a:bodyPr/>
                        <a:lstStyle/>
                        <a:p>
                          <a:endParaRPr lang="ru-RU"/>
                        </a:p>
                      </a:txBody>
                      <a:tcPr>
                        <a:blipFill rotWithShape="0">
                          <a:blip r:embed="rId3"/>
                          <a:stretch>
                            <a:fillRect l="-118038" t="-354762" r="-316" b="-1587"/>
                          </a:stretch>
                        </a:blipFill>
                      </a:tcPr>
                    </a:tc>
                  </a:tr>
                </a:tbl>
              </a:graphicData>
            </a:graphic>
          </p:graphicFrame>
        </mc:Fallback>
      </mc:AlternateContent>
    </p:spTree>
    <p:extLst>
      <p:ext uri="{BB962C8B-B14F-4D97-AF65-F5344CB8AC3E}">
        <p14:creationId xmlns:p14="http://schemas.microsoft.com/office/powerpoint/2010/main" val="4608873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>
          <a:xfrm>
            <a:off x="323528" y="1926059"/>
            <a:ext cx="7093408" cy="2448272"/>
          </a:xfrm>
          <a:prstGeom prst="rect">
            <a:avLst/>
          </a:prstGeom>
        </p:spPr>
        <p:txBody>
          <a:bodyPr vert="horz" lIns="99417" tIns="49709" rIns="99417" bIns="49709" rtlCol="0" anchor="ctr">
            <a:noAutofit/>
          </a:bodyPr>
          <a:lstStyle/>
          <a:p>
            <a:pPr algn="ctr">
              <a:lnSpc>
                <a:spcPts val="3780"/>
              </a:lnSpc>
            </a:pPr>
            <a:endParaRPr lang="ru-RU" sz="2400" b="1" dirty="0" smtClean="0">
              <a:solidFill>
                <a:schemeClr val="tx1">
                  <a:lumMod val="75000"/>
                  <a:lumOff val="25000"/>
                </a:schemeClr>
              </a:solidFill>
              <a:latin typeface="Arial" charset="0"/>
              <a:ea typeface="Arial" charset="0"/>
              <a:cs typeface="Arial" charset="0"/>
            </a:endParaRPr>
          </a:p>
          <a:p>
            <a:pPr algn="ctr">
              <a:lnSpc>
                <a:spcPts val="3780"/>
              </a:lnSpc>
            </a:pPr>
            <a:r>
              <a:rPr lang="ru-RU" sz="24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Спасибо за внимание!</a:t>
            </a:r>
          </a:p>
          <a:p>
            <a:pPr algn="ctr">
              <a:lnSpc>
                <a:spcPts val="3780"/>
              </a:lnSpc>
            </a:pPr>
            <a:endParaRPr lang="ru-RU" sz="24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>
              <a:lnSpc>
                <a:spcPts val="3780"/>
              </a:lnSpc>
            </a:pPr>
            <a:endParaRPr lang="ru-RU" sz="24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  <a:p>
            <a:pPr algn="ctr">
              <a:lnSpc>
                <a:spcPts val="3780"/>
              </a:lnSpc>
            </a:pPr>
            <a:endParaRPr lang="ru-RU" sz="24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0462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resentation_16x9_blue_templat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blue_template" id="{84B19890-9F3E-2E44-B34A-786CBADB0C52}" vid="{820E24C0-2AF0-594A-8824-B609975553E6}"/>
    </a:ext>
  </a:extLst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blue_template" id="{84B19890-9F3E-2E44-B34A-786CBADB0C52}" vid="{C6BE67D4-DC4A-204A-9840-109EC3E8B42B}"/>
    </a:ext>
  </a:extLst>
</a:theme>
</file>

<file path=ppt/theme/theme3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blue_template" id="{84B19890-9F3E-2E44-B34A-786CBADB0C52}" vid="{0AB9C867-3E85-3A4A-8B5C-A2B20E66B766}"/>
    </a:ext>
  </a:extLst>
</a:theme>
</file>

<file path=ppt/theme/theme4.xml><?xml version="1.0" encoding="utf-8"?>
<a:theme xmlns:a="http://schemas.openxmlformats.org/drawingml/2006/main" name="Presentation_16x9_blue_template_zfo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blue_template" id="{84B19890-9F3E-2E44-B34A-786CBADB0C52}" vid="{820E24C0-2AF0-594A-8824-B609975553E6}"/>
    </a:ext>
  </a:extLst>
</a:theme>
</file>

<file path=ppt/theme/theme5.xml><?xml version="1.0" encoding="utf-8"?>
<a:theme xmlns:a="http://schemas.openxmlformats.org/drawingml/2006/main" name="2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blue_template" id="{84B19890-9F3E-2E44-B34A-786CBADB0C52}" vid="{C6BE67D4-DC4A-204A-9840-109EC3E8B42B}"/>
    </a:ext>
  </a:extLst>
</a:theme>
</file>

<file path=ppt/theme/theme6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_16x9_blue_template" id="{84B19890-9F3E-2E44-B34A-786CBADB0C52}" vid="{0AB9C867-3E85-3A4A-8B5C-A2B20E66B766}"/>
    </a:ext>
  </a:extLst>
</a:theme>
</file>

<file path=ppt/theme/theme7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8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resentation_16x9_blue_template</Template>
  <TotalTime>19686</TotalTime>
  <Words>336</Words>
  <Application>Microsoft Office PowerPoint</Application>
  <PresentationFormat>Произвольный</PresentationFormat>
  <Paragraphs>57</Paragraphs>
  <Slides>9</Slides>
  <Notes>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6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2" baseType="lpstr">
      <vt:lpstr>Arial</vt:lpstr>
      <vt:lpstr>Calibri</vt:lpstr>
      <vt:lpstr>Calibri Light</vt:lpstr>
      <vt:lpstr>Cambria Math</vt:lpstr>
      <vt:lpstr>Rosatom Light</vt:lpstr>
      <vt:lpstr>Times New Roman</vt:lpstr>
      <vt:lpstr>Presentation_16x9_blue_template</vt:lpstr>
      <vt:lpstr>Custom Design</vt:lpstr>
      <vt:lpstr>1_Custom Design</vt:lpstr>
      <vt:lpstr>Presentation_16x9_blue_template_zfo</vt:lpstr>
      <vt:lpstr>2_Custom Design</vt:lpstr>
      <vt:lpstr>3_Custom Design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нна Хомякова</dc:creator>
  <cp:lastModifiedBy>Техническая Поддержка</cp:lastModifiedBy>
  <cp:revision>208</cp:revision>
  <dcterms:created xsi:type="dcterms:W3CDTF">2019-09-24T12:37:05Z</dcterms:created>
  <dcterms:modified xsi:type="dcterms:W3CDTF">2022-10-27T05:38:22Z</dcterms:modified>
</cp:coreProperties>
</file>